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95699" r:id="rId4"/>
  </p:sldMasterIdLst>
  <p:notesMasterIdLst>
    <p:notesMasterId r:id="rId15"/>
  </p:notesMasterIdLst>
  <p:handoutMasterIdLst>
    <p:handoutMasterId r:id="rId16"/>
  </p:handoutMasterIdLst>
  <p:sldIdLst>
    <p:sldId id="1131" r:id="rId5"/>
    <p:sldId id="7074" r:id="rId6"/>
    <p:sldId id="7075" r:id="rId7"/>
    <p:sldId id="7076" r:id="rId8"/>
    <p:sldId id="7078" r:id="rId9"/>
    <p:sldId id="7077" r:id="rId10"/>
    <p:sldId id="7079" r:id="rId11"/>
    <p:sldId id="7080" r:id="rId12"/>
    <p:sldId id="7081" r:id="rId13"/>
    <p:sldId id="7082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698" userDrawn="1">
          <p15:clr>
            <a:srgbClr val="A4A3A4"/>
          </p15:clr>
        </p15:guide>
        <p15:guide id="2" orient="horz" pos="888" userDrawn="1">
          <p15:clr>
            <a:srgbClr val="A4A3A4"/>
          </p15:clr>
        </p15:guide>
        <p15:guide id="10" pos="2712" userDrawn="1">
          <p15:clr>
            <a:srgbClr val="A4A3A4"/>
          </p15:clr>
        </p15:guide>
        <p15:guide id="18" orient="horz" pos="595" userDrawn="1">
          <p15:clr>
            <a:srgbClr val="A4A3A4"/>
          </p15:clr>
        </p15:guide>
        <p15:guide id="19" orient="horz" pos="3936" userDrawn="1">
          <p15:clr>
            <a:srgbClr val="A4A3A4"/>
          </p15:clr>
        </p15:guide>
        <p15:guide id="20" orient="horz" pos="3192" userDrawn="1">
          <p15:clr>
            <a:srgbClr val="A4A3A4"/>
          </p15:clr>
        </p15:guide>
        <p15:guide id="21" orient="horz" pos="2424" userDrawn="1">
          <p15:clr>
            <a:srgbClr val="A4A3A4"/>
          </p15:clr>
        </p15:guide>
        <p15:guide id="22" orient="horz" pos="1128" userDrawn="1">
          <p15:clr>
            <a:srgbClr val="A4A3A4"/>
          </p15:clr>
        </p15:guide>
        <p15:guide id="23" orient="horz" pos="4197" userDrawn="1">
          <p15:clr>
            <a:srgbClr val="A4A3A4"/>
          </p15:clr>
        </p15:guide>
        <p15:guide id="25" pos="2515" userDrawn="1">
          <p15:clr>
            <a:srgbClr val="A4A3A4"/>
          </p15:clr>
        </p15:guide>
        <p15:guide id="26" pos="1464" userDrawn="1">
          <p15:clr>
            <a:srgbClr val="A4A3A4"/>
          </p15:clr>
        </p15:guide>
        <p15:guide id="27" pos="1272" userDrawn="1">
          <p15:clr>
            <a:srgbClr val="A4A3A4"/>
          </p15:clr>
        </p15:guide>
        <p15:guide id="28" pos="234" userDrawn="1">
          <p15:clr>
            <a:srgbClr val="A4A3A4"/>
          </p15:clr>
        </p15:guide>
        <p15:guide id="29" orient="horz" pos="876" userDrawn="1">
          <p15:clr>
            <a:srgbClr val="A4A3A4"/>
          </p15:clr>
        </p15:guide>
        <p15:guide id="30" pos="4968" userDrawn="1">
          <p15:clr>
            <a:srgbClr val="A4A3A4"/>
          </p15:clr>
        </p15:guide>
        <p15:guide id="31" pos="5160" userDrawn="1">
          <p15:clr>
            <a:srgbClr val="A4A3A4"/>
          </p15:clr>
        </p15:guide>
        <p15:guide id="32" pos="6216" userDrawn="1">
          <p15:clr>
            <a:srgbClr val="A4A3A4"/>
          </p15:clr>
        </p15:guide>
        <p15:guide id="33" pos="6398" userDrawn="1">
          <p15:clr>
            <a:srgbClr val="A4A3A4"/>
          </p15:clr>
        </p15:guide>
        <p15:guide id="34" pos="74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oquette, Scott A." initials="CSA" lastIdx="1" clrIdx="0">
    <p:extLst>
      <p:ext uri="{19B8F6BF-5375-455C-9EA6-DF929625EA0E}">
        <p15:presenceInfo xmlns:p15="http://schemas.microsoft.com/office/powerpoint/2012/main" userId="S-1-5-21-329068152-1454471165-1417001333-63595" providerId="AD"/>
      </p:ext>
    </p:extLst>
  </p:cmAuthor>
  <p:cmAuthor id="2" name="Kocsis, Andrew" initials="KA" lastIdx="2" clrIdx="1">
    <p:extLst>
      <p:ext uri="{19B8F6BF-5375-455C-9EA6-DF929625EA0E}">
        <p15:presenceInfo xmlns:p15="http://schemas.microsoft.com/office/powerpoint/2012/main" userId="S-1-5-21-329068152-1454471165-1417001333-130768" providerId="AD"/>
      </p:ext>
    </p:extLst>
  </p:cmAuthor>
  <p:cmAuthor id="3" name="Sadhu, Jay" initials="SJ" lastIdx="2" clrIdx="2">
    <p:extLst>
      <p:ext uri="{19B8F6BF-5375-455C-9EA6-DF929625EA0E}">
        <p15:presenceInfo xmlns:p15="http://schemas.microsoft.com/office/powerpoint/2012/main" userId="S::jay.sadhu@accenture.com::af864b99-aa9d-40ed-a4fa-4b4bc90aa957" providerId="AD"/>
      </p:ext>
    </p:extLst>
  </p:cmAuthor>
  <p:cmAuthor id="4" name="Choquette, Scott A." initials="CSA [2]" lastIdx="5" clrIdx="3">
    <p:extLst>
      <p:ext uri="{19B8F6BF-5375-455C-9EA6-DF929625EA0E}">
        <p15:presenceInfo xmlns:p15="http://schemas.microsoft.com/office/powerpoint/2012/main" userId="S::scott.a.choquette@accenture.com::ac879276-c5c0-43bb-aef5-0d1786c9cc0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5A5A"/>
    <a:srgbClr val="00FF00"/>
    <a:srgbClr val="4A148C"/>
    <a:srgbClr val="BA68C8"/>
    <a:srgbClr val="9C27B0"/>
    <a:srgbClr val="6A1B9A"/>
    <a:srgbClr val="E1BEE7"/>
    <a:srgbClr val="E0B0FF"/>
    <a:srgbClr val="00AAE6"/>
    <a:srgbClr val="7E88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1DBBEF-7555-4725-A5F0-73A615F7185A}" v="9" dt="2020-11-05T11:46:20.793"/>
  </p1510:revLst>
</p1510:revInfo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929F9F4-4A8F-4326-A1B4-22849713DDAB}" styleName="濃色スタイル 1 - アクセント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テーマ スタイル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815" autoAdjust="0"/>
    <p:restoredTop sz="93400" autoAdjust="0"/>
  </p:normalViewPr>
  <p:slideViewPr>
    <p:cSldViewPr snapToGrid="0">
      <p:cViewPr>
        <p:scale>
          <a:sx n="159" d="100"/>
          <a:sy n="159" d="100"/>
        </p:scale>
        <p:origin x="144" y="312"/>
      </p:cViewPr>
      <p:guideLst>
        <p:guide pos="2698"/>
        <p:guide orient="horz" pos="888"/>
        <p:guide pos="2712"/>
        <p:guide orient="horz" pos="595"/>
        <p:guide orient="horz" pos="3936"/>
        <p:guide orient="horz" pos="3192"/>
        <p:guide orient="horz" pos="2424"/>
        <p:guide orient="horz" pos="1128"/>
        <p:guide orient="horz" pos="4197"/>
        <p:guide pos="2515"/>
        <p:guide pos="1464"/>
        <p:guide pos="1272"/>
        <p:guide pos="234"/>
        <p:guide orient="horz" pos="876"/>
        <p:guide pos="4968"/>
        <p:guide pos="5160"/>
        <p:guide pos="6216"/>
        <p:guide pos="6398"/>
        <p:guide pos="745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2708" y="-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u, Changsheng A." userId="877438ce-3489-4027-b8c0-4bd167ef53d0" providerId="ADAL" clId="{9801D417-69FF-41E8-B8AF-EAD5F316B837}"/>
    <pc:docChg chg="custSel modSld">
      <pc:chgData name="Liu, Changsheng A." userId="877438ce-3489-4027-b8c0-4bd167ef53d0" providerId="ADAL" clId="{9801D417-69FF-41E8-B8AF-EAD5F316B837}" dt="2020-05-28T07:31:36.861" v="54"/>
      <pc:docMkLst>
        <pc:docMk/>
      </pc:docMkLst>
      <pc:sldChg chg="addSp delSp modSp">
        <pc:chgData name="Liu, Changsheng A." userId="877438ce-3489-4027-b8c0-4bd167ef53d0" providerId="ADAL" clId="{9801D417-69FF-41E8-B8AF-EAD5F316B837}" dt="2020-05-28T06:18:32.319" v="14" actId="1037"/>
        <pc:sldMkLst>
          <pc:docMk/>
          <pc:sldMk cId="3392562427" sldId="7060"/>
        </pc:sldMkLst>
        <pc:spChg chg="del">
          <ac:chgData name="Liu, Changsheng A." userId="877438ce-3489-4027-b8c0-4bd167ef53d0" providerId="ADAL" clId="{9801D417-69FF-41E8-B8AF-EAD5F316B837}" dt="2020-05-28T06:17:52.796" v="5" actId="478"/>
          <ac:spMkLst>
            <pc:docMk/>
            <pc:sldMk cId="3392562427" sldId="7060"/>
            <ac:spMk id="4" creationId="{DB11AC07-97BB-4CF6-8BE0-FDC12213173D}"/>
          </ac:spMkLst>
        </pc:spChg>
        <pc:spChg chg="del">
          <ac:chgData name="Liu, Changsheng A." userId="877438ce-3489-4027-b8c0-4bd167ef53d0" providerId="ADAL" clId="{9801D417-69FF-41E8-B8AF-EAD5F316B837}" dt="2020-05-28T06:18:17.227" v="11" actId="478"/>
          <ac:spMkLst>
            <pc:docMk/>
            <pc:sldMk cId="3392562427" sldId="7060"/>
            <ac:spMk id="6" creationId="{1ABB5351-241B-410E-8741-7D2E7CC483BA}"/>
          </ac:spMkLst>
        </pc:spChg>
        <pc:picChg chg="add mod">
          <ac:chgData name="Liu, Changsheng A." userId="877438ce-3489-4027-b8c0-4bd167ef53d0" providerId="ADAL" clId="{9801D417-69FF-41E8-B8AF-EAD5F316B837}" dt="2020-05-28T06:18:11.213" v="10" actId="1076"/>
          <ac:picMkLst>
            <pc:docMk/>
            <pc:sldMk cId="3392562427" sldId="7060"/>
            <ac:picMk id="9" creationId="{22DF01A7-724C-4065-9663-EAE4AA8B89D7}"/>
          </ac:picMkLst>
        </pc:picChg>
        <pc:picChg chg="add mod">
          <ac:chgData name="Liu, Changsheng A." userId="877438ce-3489-4027-b8c0-4bd167ef53d0" providerId="ADAL" clId="{9801D417-69FF-41E8-B8AF-EAD5F316B837}" dt="2020-05-28T06:18:32.319" v="14" actId="1037"/>
          <ac:picMkLst>
            <pc:docMk/>
            <pc:sldMk cId="3392562427" sldId="7060"/>
            <ac:picMk id="10" creationId="{DCA36CBE-800D-4F2D-8CBE-FC782843F79B}"/>
          </ac:picMkLst>
        </pc:picChg>
      </pc:sldChg>
      <pc:sldChg chg="modSp">
        <pc:chgData name="Liu, Changsheng A." userId="877438ce-3489-4027-b8c0-4bd167ef53d0" providerId="ADAL" clId="{9801D417-69FF-41E8-B8AF-EAD5F316B837}" dt="2020-05-28T07:31:36.861" v="54"/>
        <pc:sldMkLst>
          <pc:docMk/>
          <pc:sldMk cId="4264183772" sldId="7062"/>
        </pc:sldMkLst>
        <pc:spChg chg="mod">
          <ac:chgData name="Liu, Changsheng A." userId="877438ce-3489-4027-b8c0-4bd167ef53d0" providerId="ADAL" clId="{9801D417-69FF-41E8-B8AF-EAD5F316B837}" dt="2020-05-28T07:31:36.861" v="54"/>
          <ac:spMkLst>
            <pc:docMk/>
            <pc:sldMk cId="4264183772" sldId="7062"/>
            <ac:spMk id="156" creationId="{FEA9A8CF-A69C-41B7-A5F1-089AE6FF8986}"/>
          </ac:spMkLst>
        </pc:spChg>
      </pc:sldChg>
      <pc:sldChg chg="modSp">
        <pc:chgData name="Liu, Changsheng A." userId="877438ce-3489-4027-b8c0-4bd167ef53d0" providerId="ADAL" clId="{9801D417-69FF-41E8-B8AF-EAD5F316B837}" dt="2020-05-28T06:47:06.255" v="48" actId="3064"/>
        <pc:sldMkLst>
          <pc:docMk/>
          <pc:sldMk cId="3845467195" sldId="7063"/>
        </pc:sldMkLst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22" creationId="{1BC8CDB4-7ADA-4C4B-8363-9F3846719647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35" creationId="{C3C44451-7C67-4D4E-B517-D00C37671E64}"/>
          </ac:spMkLst>
        </pc:spChg>
        <pc:spChg chg="mod">
          <ac:chgData name="Liu, Changsheng A." userId="877438ce-3489-4027-b8c0-4bd167ef53d0" providerId="ADAL" clId="{9801D417-69FF-41E8-B8AF-EAD5F316B837}" dt="2020-05-28T06:46:28.149" v="45" actId="1035"/>
          <ac:spMkLst>
            <pc:docMk/>
            <pc:sldMk cId="3845467195" sldId="7063"/>
            <ac:spMk id="38" creationId="{E5BE6181-5BFF-48B4-A5DA-9B28A41551EA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39" creationId="{B011E368-CE85-4597-BF63-47A059753C57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43" creationId="{A13B6453-AE75-4183-8D7F-35361F374FFC}"/>
          </ac:spMkLst>
        </pc:spChg>
        <pc:spChg chg="mod">
          <ac:chgData name="Liu, Changsheng A." userId="877438ce-3489-4027-b8c0-4bd167ef53d0" providerId="ADAL" clId="{9801D417-69FF-41E8-B8AF-EAD5F316B837}" dt="2020-05-28T06:46:40.781" v="46" actId="1076"/>
          <ac:spMkLst>
            <pc:docMk/>
            <pc:sldMk cId="3845467195" sldId="7063"/>
            <ac:spMk id="44" creationId="{BFE19D3F-0EC7-4992-9E7D-813FE4EE0DAC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45" creationId="{0F6A8B7D-51C7-496B-84CE-7BD91E3DA63C}"/>
          </ac:spMkLst>
        </pc:spChg>
        <pc:spChg chg="mod">
          <ac:chgData name="Liu, Changsheng A." userId="877438ce-3489-4027-b8c0-4bd167ef53d0" providerId="ADAL" clId="{9801D417-69FF-41E8-B8AF-EAD5F316B837}" dt="2020-05-28T06:46:28.149" v="45" actId="1035"/>
          <ac:spMkLst>
            <pc:docMk/>
            <pc:sldMk cId="3845467195" sldId="7063"/>
            <ac:spMk id="47" creationId="{8EB576FE-0D47-4B7B-BAAA-5DF0AF683253}"/>
          </ac:spMkLst>
        </pc:spChg>
        <pc:spChg chg="mod">
          <ac:chgData name="Liu, Changsheng A." userId="877438ce-3489-4027-b8c0-4bd167ef53d0" providerId="ADAL" clId="{9801D417-69FF-41E8-B8AF-EAD5F316B837}" dt="2020-05-28T06:47:06.255" v="48" actId="3064"/>
          <ac:spMkLst>
            <pc:docMk/>
            <pc:sldMk cId="3845467195" sldId="7063"/>
            <ac:spMk id="48" creationId="{F020CEA1-2978-4EDC-AD10-18B8AF904D92}"/>
          </ac:spMkLst>
        </pc:sp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20" creationId="{6A8324A2-93D5-4B92-9206-DAF6951D4546}"/>
          </ac:cxnSpMkLst>
        </pc:cxn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28" creationId="{18F4DCC5-5ED2-4BE2-90FF-5F1E55F35860}"/>
          </ac:cxnSpMkLst>
        </pc:cxn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34" creationId="{458FA223-42BB-4AA6-884A-B10BE0D7D586}"/>
          </ac:cxnSpMkLst>
        </pc:cxn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42" creationId="{9798D2BA-9420-4D74-9267-5023893D2254}"/>
          </ac:cxnSpMkLst>
        </pc:cxnChg>
      </pc:sldChg>
    </pc:docChg>
  </pc:docChgLst>
  <pc:docChgLst>
    <pc:chgData name="Liu, Changsheng A." userId="877438ce-3489-4027-b8c0-4bd167ef53d0" providerId="ADAL" clId="{D0F75E5E-3A54-4894-9E9F-FE82EC884A57}"/>
    <pc:docChg chg="undo custSel addSld delSld modSld sldOrd">
      <pc:chgData name="Liu, Changsheng A." userId="877438ce-3489-4027-b8c0-4bd167ef53d0" providerId="ADAL" clId="{D0F75E5E-3A54-4894-9E9F-FE82EC884A57}" dt="2020-08-07T03:05:46.934" v="745" actId="1076"/>
      <pc:docMkLst>
        <pc:docMk/>
      </pc:docMkLst>
      <pc:sldChg chg="del">
        <pc:chgData name="Liu, Changsheng A." userId="877438ce-3489-4027-b8c0-4bd167ef53d0" providerId="ADAL" clId="{D0F75E5E-3A54-4894-9E9F-FE82EC884A57}" dt="2020-08-06T09:43:31.267" v="0" actId="2696"/>
        <pc:sldMkLst>
          <pc:docMk/>
          <pc:sldMk cId="1416720613" sldId="7059"/>
        </pc:sldMkLst>
      </pc:sldChg>
      <pc:sldChg chg="addSp modSp ord">
        <pc:chgData name="Liu, Changsheng A." userId="877438ce-3489-4027-b8c0-4bd167ef53d0" providerId="ADAL" clId="{D0F75E5E-3A54-4894-9E9F-FE82EC884A57}" dt="2020-08-07T02:03:33.696" v="401"/>
        <pc:sldMkLst>
          <pc:docMk/>
          <pc:sldMk cId="3392562427" sldId="7060"/>
        </pc:sldMkLst>
        <pc:spChg chg="add mod">
          <ac:chgData name="Liu, Changsheng A." userId="877438ce-3489-4027-b8c0-4bd167ef53d0" providerId="ADAL" clId="{D0F75E5E-3A54-4894-9E9F-FE82EC884A57}" dt="2020-08-07T02:02:03.309" v="393"/>
          <ac:spMkLst>
            <pc:docMk/>
            <pc:sldMk cId="3392562427" sldId="7060"/>
            <ac:spMk id="4" creationId="{F325008B-AFE6-4210-A994-436CE83831C8}"/>
          </ac:spMkLst>
        </pc:spChg>
        <pc:spChg chg="add mod">
          <ac:chgData name="Liu, Changsheng A." userId="877438ce-3489-4027-b8c0-4bd167ef53d0" providerId="ADAL" clId="{D0F75E5E-3A54-4894-9E9F-FE82EC884A57}" dt="2020-08-07T02:03:20.046" v="400" actId="1076"/>
          <ac:spMkLst>
            <pc:docMk/>
            <pc:sldMk cId="3392562427" sldId="7060"/>
            <ac:spMk id="5" creationId="{CEF69EDB-B025-4820-8D95-30058973D762}"/>
          </ac:spMkLst>
        </pc:spChg>
        <pc:graphicFrameChg chg="mod">
          <ac:chgData name="Liu, Changsheng A." userId="877438ce-3489-4027-b8c0-4bd167ef53d0" providerId="ADAL" clId="{D0F75E5E-3A54-4894-9E9F-FE82EC884A57}" dt="2020-08-07T02:03:33.696" v="401"/>
          <ac:graphicFrameMkLst>
            <pc:docMk/>
            <pc:sldMk cId="3392562427" sldId="7060"/>
            <ac:graphicFrameMk id="16" creationId="{5A4EE85C-3E52-4D79-AA8F-256D966842BF}"/>
          </ac:graphicFrameMkLst>
        </pc:graphicFrameChg>
      </pc:sldChg>
      <pc:sldChg chg="del">
        <pc:chgData name="Liu, Changsheng A." userId="877438ce-3489-4027-b8c0-4bd167ef53d0" providerId="ADAL" clId="{D0F75E5E-3A54-4894-9E9F-FE82EC884A57}" dt="2020-08-07T01:59:55.942" v="361" actId="2696"/>
        <pc:sldMkLst>
          <pc:docMk/>
          <pc:sldMk cId="3845467195" sldId="7063"/>
        </pc:sldMkLst>
      </pc:sldChg>
      <pc:sldChg chg="del">
        <pc:chgData name="Liu, Changsheng A." userId="877438ce-3489-4027-b8c0-4bd167ef53d0" providerId="ADAL" clId="{D0F75E5E-3A54-4894-9E9F-FE82EC884A57}" dt="2020-08-07T01:59:56.057" v="364" actId="2696"/>
        <pc:sldMkLst>
          <pc:docMk/>
          <pc:sldMk cId="3624803210" sldId="7065"/>
        </pc:sldMkLst>
      </pc:sldChg>
      <pc:sldChg chg="del">
        <pc:chgData name="Liu, Changsheng A." userId="877438ce-3489-4027-b8c0-4bd167ef53d0" providerId="ADAL" clId="{D0F75E5E-3A54-4894-9E9F-FE82EC884A57}" dt="2020-08-07T01:59:55.967" v="362" actId="2696"/>
        <pc:sldMkLst>
          <pc:docMk/>
          <pc:sldMk cId="165121068" sldId="7067"/>
        </pc:sldMkLst>
      </pc:sldChg>
      <pc:sldChg chg="del modTransition">
        <pc:chgData name="Liu, Changsheng A." userId="877438ce-3489-4027-b8c0-4bd167ef53d0" providerId="ADAL" clId="{D0F75E5E-3A54-4894-9E9F-FE82EC884A57}" dt="2020-08-07T01:59:55.901" v="358" actId="2696"/>
        <pc:sldMkLst>
          <pc:docMk/>
          <pc:sldMk cId="1894518585" sldId="7068"/>
        </pc:sldMkLst>
      </pc:sldChg>
      <pc:sldChg chg="del modTransition">
        <pc:chgData name="Liu, Changsheng A." userId="877438ce-3489-4027-b8c0-4bd167ef53d0" providerId="ADAL" clId="{D0F75E5E-3A54-4894-9E9F-FE82EC884A57}" dt="2020-08-07T01:59:55.908" v="359" actId="2696"/>
        <pc:sldMkLst>
          <pc:docMk/>
          <pc:sldMk cId="3302170248" sldId="7069"/>
        </pc:sldMkLst>
      </pc:sldChg>
      <pc:sldChg chg="del">
        <pc:chgData name="Liu, Changsheng A." userId="877438ce-3489-4027-b8c0-4bd167ef53d0" providerId="ADAL" clId="{D0F75E5E-3A54-4894-9E9F-FE82EC884A57}" dt="2020-08-07T01:59:55.924" v="360" actId="2696"/>
        <pc:sldMkLst>
          <pc:docMk/>
          <pc:sldMk cId="614221364" sldId="7070"/>
        </pc:sldMkLst>
      </pc:sldChg>
      <pc:sldChg chg="del">
        <pc:chgData name="Liu, Changsheng A." userId="877438ce-3489-4027-b8c0-4bd167ef53d0" providerId="ADAL" clId="{D0F75E5E-3A54-4894-9E9F-FE82EC884A57}" dt="2020-08-07T01:59:56.034" v="363" actId="2696"/>
        <pc:sldMkLst>
          <pc:docMk/>
          <pc:sldMk cId="3511397984" sldId="7071"/>
        </pc:sldMkLst>
      </pc:sldChg>
      <pc:sldChg chg="addSp delSp modSp ord">
        <pc:chgData name="Liu, Changsheng A." userId="877438ce-3489-4027-b8c0-4bd167ef53d0" providerId="ADAL" clId="{D0F75E5E-3A54-4894-9E9F-FE82EC884A57}" dt="2020-08-07T02:01:25.696" v="385" actId="692"/>
        <pc:sldMkLst>
          <pc:docMk/>
          <pc:sldMk cId="2921799353" sldId="7074"/>
        </pc:sldMkLst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5" creationId="{AA98423E-8F40-4B2A-AC95-647A24DD16D8}"/>
          </ac:spMkLst>
        </pc:spChg>
        <pc:spChg chg="del">
          <ac:chgData name="Liu, Changsheng A." userId="877438ce-3489-4027-b8c0-4bd167ef53d0" providerId="ADAL" clId="{D0F75E5E-3A54-4894-9E9F-FE82EC884A57}" dt="2020-08-07T02:00:02.842" v="365" actId="478"/>
          <ac:spMkLst>
            <pc:docMk/>
            <pc:sldMk cId="2921799353" sldId="7074"/>
            <ac:spMk id="8" creationId="{BB9D340E-374D-44B3-BCFA-0D819E46CB0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55" creationId="{6982A03D-8A4B-43BB-91E2-9159A662C013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3" creationId="{CA1BAFED-5DDC-47B0-BD1C-D57A40700217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4" creationId="{B4516EAE-17E2-4D0B-BB0B-D6B89741223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5" creationId="{91F95AEF-9785-4B46-A061-AB38A8446185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6" creationId="{97C91B7C-AE15-468F-AC9B-A9A2E55C20E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7" creationId="{6B408180-4917-4DB9-AC94-8DEACB234430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9" creationId="{99A53870-5371-4C8A-A81D-276EE8EFBB7A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0" creationId="{E18C2752-AB71-4B8B-A535-FCA9A9E361FE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1" creationId="{7A9A740D-B213-46A1-AC27-9FD465A398A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2" creationId="{7F0957FE-EBB4-4908-9598-0A31BD7571C7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3" creationId="{CFA64541-AEC5-4EA2-8A3D-0D45CD8687FF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4" creationId="{92E56961-D660-475F-9B5B-B563A8DE9738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5" creationId="{82DD84EE-4862-40E4-B96F-05774D7524F3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6" creationId="{FE8BBEC4-CC86-4720-9F7B-B3ED90B167B5}"/>
          </ac:spMkLst>
        </pc:spChg>
        <pc:grpChg chg="add del mod">
          <ac:chgData name="Liu, Changsheng A." userId="877438ce-3489-4027-b8c0-4bd167ef53d0" providerId="ADAL" clId="{D0F75E5E-3A54-4894-9E9F-FE82EC884A57}" dt="2020-08-07T02:00:53.910" v="369" actId="165"/>
          <ac:grpSpMkLst>
            <pc:docMk/>
            <pc:sldMk cId="2921799353" sldId="7074"/>
            <ac:grpSpMk id="7" creationId="{95545018-B45C-40BD-8AFE-BF6018B61921}"/>
          </ac:grpSpMkLst>
        </pc:grpChg>
        <pc:graphicFrameChg chg="mod topLvl">
          <ac:chgData name="Liu, Changsheng A." userId="877438ce-3489-4027-b8c0-4bd167ef53d0" providerId="ADAL" clId="{D0F75E5E-3A54-4894-9E9F-FE82EC884A57}" dt="2020-08-07T02:00:53.910" v="369" actId="165"/>
          <ac:graphicFrameMkLst>
            <pc:docMk/>
            <pc:sldMk cId="2921799353" sldId="7074"/>
            <ac:graphicFrameMk id="3" creationId="{48812ECC-C370-4011-B626-AECE60B19270}"/>
          </ac:graphicFrameMkLst>
        </pc:graphicFrame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6" creationId="{057354C6-0346-4CA3-A479-3477BEAE1DAB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7" creationId="{283245AB-D2A2-442F-AB6F-5C47867B2BDA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8" creationId="{55F60300-A651-44B0-9DF7-118B18A86167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9" creationId="{71E90A51-52B0-4AC3-82A9-35270E042A43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60" creationId="{5112B6FD-E24B-413E-98D1-F4B3771C9BCE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61" creationId="{0B4DB62A-5517-430A-94F5-0C22A7A10A28}"/>
          </ac:cxnSpMkLst>
        </pc:cxnChg>
        <pc:cxnChg chg="mod topLvl">
          <ac:chgData name="Liu, Changsheng A." userId="877438ce-3489-4027-b8c0-4bd167ef53d0" providerId="ADAL" clId="{D0F75E5E-3A54-4894-9E9F-FE82EC884A57}" dt="2020-08-07T02:01:19.689" v="377" actId="692"/>
          <ac:cxnSpMkLst>
            <pc:docMk/>
            <pc:sldMk cId="2921799353" sldId="7074"/>
            <ac:cxnSpMk id="162" creationId="{AFB8B8D4-EEE9-4B04-862C-D0A85B5AFA07}"/>
          </ac:cxnSpMkLst>
        </pc:cxnChg>
        <pc:cxnChg chg="mod topLvl">
          <ac:chgData name="Liu, Changsheng A." userId="877438ce-3489-4027-b8c0-4bd167ef53d0" providerId="ADAL" clId="{D0F75E5E-3A54-4894-9E9F-FE82EC884A57}" dt="2020-08-07T02:01:25.696" v="385" actId="692"/>
          <ac:cxnSpMkLst>
            <pc:docMk/>
            <pc:sldMk cId="2921799353" sldId="7074"/>
            <ac:cxnSpMk id="168" creationId="{4F63E910-D499-436F-B596-AEA1E239E922}"/>
          </ac:cxnSpMkLst>
        </pc:cxnChg>
      </pc:sldChg>
      <pc:sldChg chg="del modTransition">
        <pc:chgData name="Liu, Changsheng A." userId="877438ce-3489-4027-b8c0-4bd167ef53d0" providerId="ADAL" clId="{D0F75E5E-3A54-4894-9E9F-FE82EC884A57}" dt="2020-08-07T01:59:55.885" v="357" actId="2696"/>
        <pc:sldMkLst>
          <pc:docMk/>
          <pc:sldMk cId="1963802781" sldId="7077"/>
        </pc:sldMkLst>
      </pc:sldChg>
      <pc:sldChg chg="addSp delSp modSp ord">
        <pc:chgData name="Liu, Changsheng A." userId="877438ce-3489-4027-b8c0-4bd167ef53d0" providerId="ADAL" clId="{D0F75E5E-3A54-4894-9E9F-FE82EC884A57}" dt="2020-08-07T02:27:59.155" v="716" actId="14100"/>
        <pc:sldMkLst>
          <pc:docMk/>
          <pc:sldMk cId="2507160028" sldId="7079"/>
        </pc:sldMkLst>
        <pc:spChg chg="add mod">
          <ac:chgData name="Liu, Changsheng A." userId="877438ce-3489-4027-b8c0-4bd167ef53d0" providerId="ADAL" clId="{D0F75E5E-3A54-4894-9E9F-FE82EC884A57}" dt="2020-08-07T02:27:53.178" v="715" actId="255"/>
          <ac:spMkLst>
            <pc:docMk/>
            <pc:sldMk cId="2507160028" sldId="7079"/>
            <ac:spMk id="3" creationId="{C8619EA2-47AC-495B-A048-165588937616}"/>
          </ac:spMkLst>
        </pc:spChg>
        <pc:spChg chg="add del mod">
          <ac:chgData name="Liu, Changsheng A." userId="877438ce-3489-4027-b8c0-4bd167ef53d0" providerId="ADAL" clId="{D0F75E5E-3A54-4894-9E9F-FE82EC884A57}" dt="2020-08-07T02:25:52.950" v="691" actId="478"/>
          <ac:spMkLst>
            <pc:docMk/>
            <pc:sldMk cId="2507160028" sldId="7079"/>
            <ac:spMk id="11" creationId="{0EC33F4E-6E8D-4B63-ACD3-D6693D3C1096}"/>
          </ac:spMkLst>
        </pc:spChg>
        <pc:spChg chg="mod">
          <ac:chgData name="Liu, Changsheng A." userId="877438ce-3489-4027-b8c0-4bd167ef53d0" providerId="ADAL" clId="{D0F75E5E-3A54-4894-9E9F-FE82EC884A57}" dt="2020-08-06T09:50:58.235" v="113" actId="1076"/>
          <ac:spMkLst>
            <pc:docMk/>
            <pc:sldMk cId="2507160028" sldId="7079"/>
            <ac:spMk id="23" creationId="{CB055D03-5E0B-402C-9EE4-5CD68C7BFA2B}"/>
          </ac:spMkLst>
        </pc:spChg>
        <pc:graphicFrameChg chg="mod modGraphic">
          <ac:chgData name="Liu, Changsheng A." userId="877438ce-3489-4027-b8c0-4bd167ef53d0" providerId="ADAL" clId="{D0F75E5E-3A54-4894-9E9F-FE82EC884A57}" dt="2020-08-07T02:27:25.415" v="712" actId="14734"/>
          <ac:graphicFrameMkLst>
            <pc:docMk/>
            <pc:sldMk cId="2507160028" sldId="7079"/>
            <ac:graphicFrameMk id="4" creationId="{170FE5E5-5901-48B2-824E-EB8DEC2D219B}"/>
          </ac:graphicFrameMkLst>
        </pc:graphicFrameChg>
        <pc:graphicFrameChg chg="mod modGraphic">
          <ac:chgData name="Liu, Changsheng A." userId="877438ce-3489-4027-b8c0-4bd167ef53d0" providerId="ADAL" clId="{D0F75E5E-3A54-4894-9E9F-FE82EC884A57}" dt="2020-08-07T02:27:59.155" v="716" actId="14100"/>
          <ac:graphicFrameMkLst>
            <pc:docMk/>
            <pc:sldMk cId="2507160028" sldId="7079"/>
            <ac:graphicFrameMk id="20" creationId="{0E16624C-8DE5-4784-8E8B-2DE0488CCC1E}"/>
          </ac:graphicFrameMkLst>
        </pc:graphicFrameChg>
      </pc:sldChg>
      <pc:sldChg chg="del modTransition">
        <pc:chgData name="Liu, Changsheng A." userId="877438ce-3489-4027-b8c0-4bd167ef53d0" providerId="ADAL" clId="{D0F75E5E-3A54-4894-9E9F-FE82EC884A57}" dt="2020-08-07T01:59:55.858" v="356" actId="2696"/>
        <pc:sldMkLst>
          <pc:docMk/>
          <pc:sldMk cId="3176210129" sldId="7081"/>
        </pc:sldMkLst>
      </pc:sldChg>
      <pc:sldChg chg="addSp delSp modSp ord">
        <pc:chgData name="Liu, Changsheng A." userId="877438ce-3489-4027-b8c0-4bd167ef53d0" providerId="ADAL" clId="{D0F75E5E-3A54-4894-9E9F-FE82EC884A57}" dt="2020-08-07T02:23:36.419" v="684" actId="14100"/>
        <pc:sldMkLst>
          <pc:docMk/>
          <pc:sldMk cId="153927648" sldId="7082"/>
        </pc:sldMkLst>
        <pc:spChg chg="mod">
          <ac:chgData name="Liu, Changsheng A." userId="877438ce-3489-4027-b8c0-4bd167ef53d0" providerId="ADAL" clId="{D0F75E5E-3A54-4894-9E9F-FE82EC884A57}" dt="2020-08-07T02:14:07.240" v="586" actId="552"/>
          <ac:spMkLst>
            <pc:docMk/>
            <pc:sldMk cId="153927648" sldId="7082"/>
            <ac:spMk id="16" creationId="{321ABA98-DB8F-424E-9DBD-D12A68EF7B07}"/>
          </ac:spMkLst>
        </pc:spChg>
        <pc:spChg chg="mod">
          <ac:chgData name="Liu, Changsheng A." userId="877438ce-3489-4027-b8c0-4bd167ef53d0" providerId="ADAL" clId="{D0F75E5E-3A54-4894-9E9F-FE82EC884A57}" dt="2020-08-07T02:14:07.240" v="586" actId="552"/>
          <ac:spMkLst>
            <pc:docMk/>
            <pc:sldMk cId="153927648" sldId="7082"/>
            <ac:spMk id="17" creationId="{6D1C49AD-0E6A-4AF1-A49B-FA2DAFD12F58}"/>
          </ac:spMkLst>
        </pc:spChg>
        <pc:spChg chg="mod">
          <ac:chgData name="Liu, Changsheng A." userId="877438ce-3489-4027-b8c0-4bd167ef53d0" providerId="ADAL" clId="{D0F75E5E-3A54-4894-9E9F-FE82EC884A57}" dt="2020-08-06T09:48:21.777" v="80"/>
          <ac:spMkLst>
            <pc:docMk/>
            <pc:sldMk cId="153927648" sldId="7082"/>
            <ac:spMk id="39" creationId="{AB3BCAE5-8DB7-4390-9F1E-4D4D4DC046F0}"/>
          </ac:spMkLst>
        </pc:spChg>
        <pc:spChg chg="mod">
          <ac:chgData name="Liu, Changsheng A." userId="877438ce-3489-4027-b8c0-4bd167ef53d0" providerId="ADAL" clId="{D0F75E5E-3A54-4894-9E9F-FE82EC884A57}" dt="2020-08-07T02:14:55.802" v="639"/>
          <ac:spMkLst>
            <pc:docMk/>
            <pc:sldMk cId="153927648" sldId="7082"/>
            <ac:spMk id="40" creationId="{66ED094E-6813-40A2-B11B-72E3386C1452}"/>
          </ac:spMkLst>
        </pc:spChg>
        <pc:spChg chg="mod">
          <ac:chgData name="Liu, Changsheng A." userId="877438ce-3489-4027-b8c0-4bd167ef53d0" providerId="ADAL" clId="{D0F75E5E-3A54-4894-9E9F-FE82EC884A57}" dt="2020-08-07T02:14:07.240" v="586" actId="552"/>
          <ac:spMkLst>
            <pc:docMk/>
            <pc:sldMk cId="153927648" sldId="7082"/>
            <ac:spMk id="54" creationId="{F7620442-E6B9-4A46-8CA5-906707974AE1}"/>
          </ac:spMkLst>
        </pc:spChg>
        <pc:spChg chg="del mod">
          <ac:chgData name="Liu, Changsheng A." userId="877438ce-3489-4027-b8c0-4bd167ef53d0" providerId="ADAL" clId="{D0F75E5E-3A54-4894-9E9F-FE82EC884A57}" dt="2020-08-07T02:11:16.877" v="468" actId="478"/>
          <ac:spMkLst>
            <pc:docMk/>
            <pc:sldMk cId="153927648" sldId="7082"/>
            <ac:spMk id="70" creationId="{11605218-BE67-4E60-9B68-713E2A3F5C13}"/>
          </ac:spMkLst>
        </pc:spChg>
        <pc:spChg chg="mod">
          <ac:chgData name="Liu, Changsheng A." userId="877438ce-3489-4027-b8c0-4bd167ef53d0" providerId="ADAL" clId="{D0F75E5E-3A54-4894-9E9F-FE82EC884A57}" dt="2020-08-07T02:23:36.419" v="684" actId="14100"/>
          <ac:spMkLst>
            <pc:docMk/>
            <pc:sldMk cId="153927648" sldId="7082"/>
            <ac:spMk id="92" creationId="{9185A647-55E5-4AFC-82C0-4527E342885C}"/>
          </ac:spMkLst>
        </pc:spChg>
        <pc:spChg chg="del mod">
          <ac:chgData name="Liu, Changsheng A." userId="877438ce-3489-4027-b8c0-4bd167ef53d0" providerId="ADAL" clId="{D0F75E5E-3A54-4894-9E9F-FE82EC884A57}" dt="2020-08-07T02:16:57.710" v="648" actId="478"/>
          <ac:spMkLst>
            <pc:docMk/>
            <pc:sldMk cId="153927648" sldId="7082"/>
            <ac:spMk id="97" creationId="{572E54AD-8B09-4751-B94C-6611B539910D}"/>
          </ac:spMkLst>
        </pc:spChg>
        <pc:grpChg chg="mod">
          <ac:chgData name="Liu, Changsheng A." userId="877438ce-3489-4027-b8c0-4bd167ef53d0" providerId="ADAL" clId="{D0F75E5E-3A54-4894-9E9F-FE82EC884A57}" dt="2020-08-07T02:15:50.872" v="642" actId="1076"/>
          <ac:grpSpMkLst>
            <pc:docMk/>
            <pc:sldMk cId="153927648" sldId="7082"/>
            <ac:grpSpMk id="7" creationId="{C4ECEB3E-EB78-41E8-BEEC-0BF35EE0A8F6}"/>
          </ac:grpSpMkLst>
        </pc:grpChg>
        <pc:grpChg chg="mod">
          <ac:chgData name="Liu, Changsheng A." userId="877438ce-3489-4027-b8c0-4bd167ef53d0" providerId="ADAL" clId="{D0F75E5E-3A54-4894-9E9F-FE82EC884A57}" dt="2020-08-07T02:15:54.709" v="643" actId="1076"/>
          <ac:grpSpMkLst>
            <pc:docMk/>
            <pc:sldMk cId="153927648" sldId="7082"/>
            <ac:grpSpMk id="34" creationId="{F94DE8CD-8F4C-4FFD-9111-94BAC3FCC02E}"/>
          </ac:grpSpMkLst>
        </pc:grpChg>
        <pc:grpChg chg="add 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37" creationId="{CBB4319C-24B5-4EAB-85A7-35062A99402E}"/>
          </ac:grpSpMkLst>
        </pc:grpChg>
        <pc:grpChg chg="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47" creationId="{3202C938-9499-4037-9429-4F5E4FCA78B1}"/>
          </ac:grpSpMkLst>
        </pc:grpChg>
        <pc:grpChg chg="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75" creationId="{4A02E248-8080-46BD-AB68-4EC3CF207EC6}"/>
          </ac:grpSpMkLst>
        </pc:grpChg>
        <pc:grpChg chg="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105" creationId="{0BBDB3A9-CCFB-45B6-887E-0BCFFB35F5FF}"/>
          </ac:grpSpMkLst>
        </pc:grpChg>
        <pc:cxnChg chg="mod">
          <ac:chgData name="Liu, Changsheng A." userId="877438ce-3489-4027-b8c0-4bd167ef53d0" providerId="ADAL" clId="{D0F75E5E-3A54-4894-9E9F-FE82EC884A57}" dt="2020-08-07T02:16:10.943" v="645" actId="14100"/>
          <ac:cxnSpMkLst>
            <pc:docMk/>
            <pc:sldMk cId="153927648" sldId="7082"/>
            <ac:cxnSpMk id="22" creationId="{BC8EBC09-B995-49C9-A2E3-5334194F9E51}"/>
          </ac:cxnSpMkLst>
        </pc:cxnChg>
        <pc:cxnChg chg="add mod">
          <ac:chgData name="Liu, Changsheng A." userId="877438ce-3489-4027-b8c0-4bd167ef53d0" providerId="ADAL" clId="{D0F75E5E-3A54-4894-9E9F-FE82EC884A57}" dt="2020-08-07T02:16:34.344" v="647" actId="14100"/>
          <ac:cxnSpMkLst>
            <pc:docMk/>
            <pc:sldMk cId="153927648" sldId="7082"/>
            <ac:cxnSpMk id="41" creationId="{89ADDC2E-1AF2-45ED-970D-FD60F9A303BE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44" creationId="{A7B9C419-7896-4BD8-983C-830101A14A96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45" creationId="{B6B7C9C2-93C3-4F74-8566-3E68C25EEC45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46" creationId="{AB55311C-3F11-4069-A7E1-7D1AC529AAEA}"/>
          </ac:cxnSpMkLst>
        </pc:cxnChg>
        <pc:cxnChg chg="mod">
          <ac:chgData name="Liu, Changsheng A." userId="877438ce-3489-4027-b8c0-4bd167ef53d0" providerId="ADAL" clId="{D0F75E5E-3A54-4894-9E9F-FE82EC884A57}" dt="2020-08-07T02:15:54.709" v="643" actId="1076"/>
          <ac:cxnSpMkLst>
            <pc:docMk/>
            <pc:sldMk cId="153927648" sldId="7082"/>
            <ac:cxnSpMk id="50" creationId="{1838774B-660D-42E9-8FA6-CA9923C7F1D4}"/>
          </ac:cxnSpMkLst>
        </pc:cxnChg>
        <pc:cxnChg chg="del">
          <ac:chgData name="Liu, Changsheng A." userId="877438ce-3489-4027-b8c0-4bd167ef53d0" providerId="ADAL" clId="{D0F75E5E-3A54-4894-9E9F-FE82EC884A57}" dt="2020-08-07T02:04:13.053" v="403" actId="478"/>
          <ac:cxnSpMkLst>
            <pc:docMk/>
            <pc:sldMk cId="153927648" sldId="7082"/>
            <ac:cxnSpMk id="53" creationId="{0C5A61AE-41CB-4E95-B29C-2E1BCC21FB81}"/>
          </ac:cxnSpMkLst>
        </pc:cxnChg>
        <pc:cxnChg chg="mod">
          <ac:chgData name="Liu, Changsheng A." userId="877438ce-3489-4027-b8c0-4bd167ef53d0" providerId="ADAL" clId="{D0F75E5E-3A54-4894-9E9F-FE82EC884A57}" dt="2020-08-07T02:10:52.281" v="461" actId="108"/>
          <ac:cxnSpMkLst>
            <pc:docMk/>
            <pc:sldMk cId="153927648" sldId="7082"/>
            <ac:cxnSpMk id="79" creationId="{0D06C858-E720-48AB-9B32-8D5E09F974F8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85" creationId="{F94B74B6-968B-4259-AA3F-0777E1721D31}"/>
          </ac:cxnSpMkLst>
        </pc:cxnChg>
        <pc:cxnChg chg="mod">
          <ac:chgData name="Liu, Changsheng A." userId="877438ce-3489-4027-b8c0-4bd167ef53d0" providerId="ADAL" clId="{D0F75E5E-3A54-4894-9E9F-FE82EC884A57}" dt="2020-08-07T02:15:54.709" v="643" actId="1076"/>
          <ac:cxnSpMkLst>
            <pc:docMk/>
            <pc:sldMk cId="153927648" sldId="7082"/>
            <ac:cxnSpMk id="109" creationId="{18ACEF8F-DCC9-4E79-860C-E3CB37DD01E0}"/>
          </ac:cxnSpMkLst>
        </pc:cxnChg>
      </pc:sldChg>
      <pc:sldChg chg="addSp delSp modSp add del setBg">
        <pc:chgData name="Liu, Changsheng A." userId="877438ce-3489-4027-b8c0-4bd167ef53d0" providerId="ADAL" clId="{D0F75E5E-3A54-4894-9E9F-FE82EC884A57}" dt="2020-08-07T02:28:46.822" v="723" actId="2696"/>
        <pc:sldMkLst>
          <pc:docMk/>
          <pc:sldMk cId="2118965730" sldId="7083"/>
        </pc:sldMkLst>
        <pc:spChg chg="mod">
          <ac:chgData name="Liu, Changsheng A." userId="877438ce-3489-4027-b8c0-4bd167ef53d0" providerId="ADAL" clId="{D0F75E5E-3A54-4894-9E9F-FE82EC884A57}" dt="2020-08-06T10:02:04.871" v="347" actId="207"/>
          <ac:spMkLst>
            <pc:docMk/>
            <pc:sldMk cId="2118965730" sldId="7083"/>
            <ac:spMk id="2" creationId="{A76E36DE-D08F-4CF2-9536-9A79D084B442}"/>
          </ac:spMkLst>
        </pc:spChg>
        <pc:graphicFrameChg chg="add del">
          <ac:chgData name="Liu, Changsheng A." userId="877438ce-3489-4027-b8c0-4bd167ef53d0" providerId="ADAL" clId="{D0F75E5E-3A54-4894-9E9F-FE82EC884A57}" dt="2020-08-06T10:01:23.760" v="336" actId="478"/>
          <ac:graphicFrameMkLst>
            <pc:docMk/>
            <pc:sldMk cId="2118965730" sldId="7083"/>
            <ac:graphicFrameMk id="3" creationId="{EDA937DE-B2D2-45BD-81FE-4257F6630EDF}"/>
          </ac:graphicFrameMkLst>
        </pc:graphicFrameChg>
        <pc:graphicFrameChg chg="add del">
          <ac:chgData name="Liu, Changsheng A." userId="877438ce-3489-4027-b8c0-4bd167ef53d0" providerId="ADAL" clId="{D0F75E5E-3A54-4894-9E9F-FE82EC884A57}" dt="2020-08-06T10:01:41.059" v="344"/>
          <ac:graphicFrameMkLst>
            <pc:docMk/>
            <pc:sldMk cId="2118965730" sldId="7083"/>
            <ac:graphicFrameMk id="4" creationId="{C7691787-AB07-456C-B08C-7A5A50DFB34F}"/>
          </ac:graphicFrameMkLst>
        </pc:graphicFrameChg>
        <pc:graphicFrameChg chg="add del">
          <ac:chgData name="Liu, Changsheng A." userId="877438ce-3489-4027-b8c0-4bd167ef53d0" providerId="ADAL" clId="{D0F75E5E-3A54-4894-9E9F-FE82EC884A57}" dt="2020-08-06T10:03:15.708" v="352"/>
          <ac:graphicFrameMkLst>
            <pc:docMk/>
            <pc:sldMk cId="2118965730" sldId="7083"/>
            <ac:graphicFrameMk id="6" creationId="{DA26B7B8-56D0-4B8D-A865-128BB21DBFF1}"/>
          </ac:graphicFrameMkLst>
        </pc:graphicFrameChg>
        <pc:picChg chg="add del mod">
          <ac:chgData name="Liu, Changsheng A." userId="877438ce-3489-4027-b8c0-4bd167ef53d0" providerId="ADAL" clId="{D0F75E5E-3A54-4894-9E9F-FE82EC884A57}" dt="2020-08-06T10:03:08.793" v="350" actId="478"/>
          <ac:picMkLst>
            <pc:docMk/>
            <pc:sldMk cId="2118965730" sldId="7083"/>
            <ac:picMk id="5" creationId="{25CBECBA-14B6-41EA-AE2A-537485D4F16C}"/>
          </ac:picMkLst>
        </pc:picChg>
        <pc:picChg chg="add mod">
          <ac:chgData name="Liu, Changsheng A." userId="877438ce-3489-4027-b8c0-4bd167ef53d0" providerId="ADAL" clId="{D0F75E5E-3A54-4894-9E9F-FE82EC884A57}" dt="2020-08-06T10:03:22.908" v="355" actId="1076"/>
          <ac:picMkLst>
            <pc:docMk/>
            <pc:sldMk cId="2118965730" sldId="7083"/>
            <ac:picMk id="7" creationId="{E0D79ABB-0FF8-4068-88A9-F39D922C4BF9}"/>
          </ac:picMkLst>
        </pc:picChg>
      </pc:sldChg>
      <pc:sldChg chg="addSp delSp modSp add">
        <pc:chgData name="Liu, Changsheng A." userId="877438ce-3489-4027-b8c0-4bd167ef53d0" providerId="ADAL" clId="{D0F75E5E-3A54-4894-9E9F-FE82EC884A57}" dt="2020-08-07T03:05:46.934" v="745" actId="1076"/>
        <pc:sldMkLst>
          <pc:docMk/>
          <pc:sldMk cId="893485740" sldId="7084"/>
        </pc:sldMkLst>
        <pc:spChg chg="mod">
          <ac:chgData name="Liu, Changsheng A." userId="877438ce-3489-4027-b8c0-4bd167ef53d0" providerId="ADAL" clId="{D0F75E5E-3A54-4894-9E9F-FE82EC884A57}" dt="2020-08-07T02:28:18.591" v="719"/>
          <ac:spMkLst>
            <pc:docMk/>
            <pc:sldMk cId="893485740" sldId="7084"/>
            <ac:spMk id="2" creationId="{84CD397F-0450-465F-9526-1F8571444A9F}"/>
          </ac:spMkLst>
        </pc:spChg>
        <pc:graphicFrameChg chg="add del">
          <ac:chgData name="Liu, Changsheng A." userId="877438ce-3489-4027-b8c0-4bd167ef53d0" providerId="ADAL" clId="{D0F75E5E-3A54-4894-9E9F-FE82EC884A57}" dt="2020-08-07T03:03:44.496" v="730"/>
          <ac:graphicFrameMkLst>
            <pc:docMk/>
            <pc:sldMk cId="893485740" sldId="7084"/>
            <ac:graphicFrameMk id="4" creationId="{7618BE51-A8D6-468F-9921-19E153521050}"/>
          </ac:graphicFrameMkLst>
        </pc:graphicFrameChg>
        <pc:graphicFrameChg chg="add del">
          <ac:chgData name="Liu, Changsheng A." userId="877438ce-3489-4027-b8c0-4bd167ef53d0" providerId="ADAL" clId="{D0F75E5E-3A54-4894-9E9F-FE82EC884A57}" dt="2020-08-07T03:05:27.591" v="741"/>
          <ac:graphicFrameMkLst>
            <pc:docMk/>
            <pc:sldMk cId="893485740" sldId="7084"/>
            <ac:graphicFrameMk id="6" creationId="{E6A145A4-6C9B-420D-8A96-6D54AD590ADB}"/>
          </ac:graphicFrameMkLst>
        </pc:graphicFrameChg>
        <pc:picChg chg="add del mod">
          <ac:chgData name="Liu, Changsheng A." userId="877438ce-3489-4027-b8c0-4bd167ef53d0" providerId="ADAL" clId="{D0F75E5E-3A54-4894-9E9F-FE82EC884A57}" dt="2020-08-07T03:03:31.764" v="726" actId="478"/>
          <ac:picMkLst>
            <pc:docMk/>
            <pc:sldMk cId="893485740" sldId="7084"/>
            <ac:picMk id="3" creationId="{CC7B553C-3CCE-454E-91E6-D03FFF025151}"/>
          </ac:picMkLst>
        </pc:picChg>
        <pc:picChg chg="add del mod">
          <ac:chgData name="Liu, Changsheng A." userId="877438ce-3489-4027-b8c0-4bd167ef53d0" providerId="ADAL" clId="{D0F75E5E-3A54-4894-9E9F-FE82EC884A57}" dt="2020-08-07T03:05:22.708" v="739" actId="478"/>
          <ac:picMkLst>
            <pc:docMk/>
            <pc:sldMk cId="893485740" sldId="7084"/>
            <ac:picMk id="5" creationId="{51EF5378-3248-4EF7-8858-6BF5289F30E3}"/>
          </ac:picMkLst>
        </pc:picChg>
        <pc:picChg chg="add mod">
          <ac:chgData name="Liu, Changsheng A." userId="877438ce-3489-4027-b8c0-4bd167ef53d0" providerId="ADAL" clId="{D0F75E5E-3A54-4894-9E9F-FE82EC884A57}" dt="2020-08-07T03:05:46.934" v="745" actId="1076"/>
          <ac:picMkLst>
            <pc:docMk/>
            <pc:sldMk cId="893485740" sldId="7084"/>
            <ac:picMk id="7" creationId="{CB9FA797-CDC1-4C81-9DB9-55FA80CF3222}"/>
          </ac:picMkLst>
        </pc:picChg>
      </pc:sldChg>
    </pc:docChg>
  </pc:docChgLst>
  <pc:docChgLst>
    <pc:chgData name="Liu, Changsheng A." userId="877438ce-3489-4027-b8c0-4bd167ef53d0" providerId="ADAL" clId="{A4519760-3F05-4FF7-B9B2-83FCFB1A4164}"/>
    <pc:docChg chg="undo custSel addSld delSld modSld sldOrd">
      <pc:chgData name="Liu, Changsheng A." userId="877438ce-3489-4027-b8c0-4bd167ef53d0" providerId="ADAL" clId="{A4519760-3F05-4FF7-B9B2-83FCFB1A4164}" dt="2020-07-30T10:00:13.904" v="3696" actId="14100"/>
      <pc:docMkLst>
        <pc:docMk/>
      </pc:docMkLst>
      <pc:sldChg chg="addSp delSp modSp">
        <pc:chgData name="Liu, Changsheng A." userId="877438ce-3489-4027-b8c0-4bd167ef53d0" providerId="ADAL" clId="{A4519760-3F05-4FF7-B9B2-83FCFB1A4164}" dt="2020-07-30T02:54:52.232" v="1259" actId="108"/>
        <pc:sldMkLst>
          <pc:docMk/>
          <pc:sldMk cId="3392562427" sldId="7060"/>
        </pc:sldMkLst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3" creationId="{DE37FAFE-59C2-4687-809F-4049359808C5}"/>
          </ac:spMkLst>
        </pc:spChg>
        <pc:spChg chg="add del mo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4" creationId="{A210A4BA-9A21-4B2B-B3E8-353C39CB173C}"/>
          </ac:spMkLst>
        </pc:spChg>
        <pc:spChg chg="del">
          <ac:chgData name="Liu, Changsheng A." userId="877438ce-3489-4027-b8c0-4bd167ef53d0" providerId="ADAL" clId="{A4519760-3F05-4FF7-B9B2-83FCFB1A4164}" dt="2020-07-30T02:19:25.216" v="851" actId="478"/>
          <ac:spMkLst>
            <pc:docMk/>
            <pc:sldMk cId="3392562427" sldId="7060"/>
            <ac:spMk id="5" creationId="{4A93D0CD-94F5-4592-AB7B-B0A7FFECB041}"/>
          </ac:spMkLst>
        </pc:spChg>
        <pc:spChg chg="add del mod or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6" creationId="{FDCBDF63-C904-4DFC-84E4-FD822A52484D}"/>
          </ac:spMkLst>
        </pc:spChg>
        <pc:spChg chg="del">
          <ac:chgData name="Liu, Changsheng A." userId="877438ce-3489-4027-b8c0-4bd167ef53d0" providerId="ADAL" clId="{A4519760-3F05-4FF7-B9B2-83FCFB1A4164}" dt="2020-07-30T02:19:25.216" v="851" actId="478"/>
          <ac:spMkLst>
            <pc:docMk/>
            <pc:sldMk cId="3392562427" sldId="7060"/>
            <ac:spMk id="7" creationId="{FD7EF61D-77FA-4C20-9F25-A73C875C7D54}"/>
          </ac:spMkLst>
        </pc:spChg>
        <pc:spChg chg="del">
          <ac:chgData name="Liu, Changsheng A." userId="877438ce-3489-4027-b8c0-4bd167ef53d0" providerId="ADAL" clId="{A4519760-3F05-4FF7-B9B2-83FCFB1A4164}" dt="2020-07-30T02:19:25.216" v="851" actId="478"/>
          <ac:spMkLst>
            <pc:docMk/>
            <pc:sldMk cId="3392562427" sldId="7060"/>
            <ac:spMk id="8" creationId="{83088BA6-8E0F-40BA-91E1-D975F326833F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1" creationId="{D9C5ADF3-3E30-4899-AE9A-96D0EC0AB81F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2" creationId="{BD28D1D3-4F93-4F3A-A0FA-A739B93A3CB6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3" creationId="{A8DBAEB1-F799-49D0-BA38-19F39C20099A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4" creationId="{E2B227AB-F2C7-426F-8780-011327464882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5" creationId="{40FB79EC-3A18-4D5E-82B4-D4A40B39D339}"/>
          </ac:spMkLst>
        </pc:spChg>
        <pc:spChg chg="add del mod">
          <ac:chgData name="Liu, Changsheng A." userId="877438ce-3489-4027-b8c0-4bd167ef53d0" providerId="ADAL" clId="{A4519760-3F05-4FF7-B9B2-83FCFB1A4164}" dt="2020-07-30T02:37:52.069" v="995" actId="478"/>
          <ac:spMkLst>
            <pc:docMk/>
            <pc:sldMk cId="3392562427" sldId="7060"/>
            <ac:spMk id="17" creationId="{2B3896E9-42B7-42A8-A4B2-B9F107E3EFD4}"/>
          </ac:spMkLst>
        </pc:spChg>
        <pc:spChg chg="add del mo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18" creationId="{97DD42A3-C18A-4587-8B2F-0D600DAA6A0A}"/>
          </ac:spMkLst>
        </pc:spChg>
        <pc:spChg chg="add del mo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19" creationId="{9BD2C044-F171-4A5E-A648-2FB7AFA4DFB5}"/>
          </ac:spMkLst>
        </pc:spChg>
        <pc:graphicFrameChg chg="add mod">
          <ac:chgData name="Liu, Changsheng A." userId="877438ce-3489-4027-b8c0-4bd167ef53d0" providerId="ADAL" clId="{A4519760-3F05-4FF7-B9B2-83FCFB1A4164}" dt="2020-07-30T02:54:52.232" v="1259" actId="108"/>
          <ac:graphicFrameMkLst>
            <pc:docMk/>
            <pc:sldMk cId="3392562427" sldId="7060"/>
            <ac:graphicFrameMk id="16" creationId="{5A4EE85C-3E52-4D79-AA8F-256D966842BF}"/>
          </ac:graphicFrameMkLst>
        </pc:graphicFrameChg>
        <pc:picChg chg="del">
          <ac:chgData name="Liu, Changsheng A." userId="877438ce-3489-4027-b8c0-4bd167ef53d0" providerId="ADAL" clId="{A4519760-3F05-4FF7-B9B2-83FCFB1A4164}" dt="2020-07-30T02:19:25.216" v="851" actId="478"/>
          <ac:picMkLst>
            <pc:docMk/>
            <pc:sldMk cId="3392562427" sldId="7060"/>
            <ac:picMk id="9" creationId="{22DF01A7-724C-4065-9663-EAE4AA8B89D7}"/>
          </ac:picMkLst>
        </pc:picChg>
        <pc:picChg chg="del">
          <ac:chgData name="Liu, Changsheng A." userId="877438ce-3489-4027-b8c0-4bd167ef53d0" providerId="ADAL" clId="{A4519760-3F05-4FF7-B9B2-83FCFB1A4164}" dt="2020-07-30T02:19:25.216" v="851" actId="478"/>
          <ac:picMkLst>
            <pc:docMk/>
            <pc:sldMk cId="3392562427" sldId="7060"/>
            <ac:picMk id="10" creationId="{DCA36CBE-800D-4F2D-8CBE-FC782843F79B}"/>
          </ac:picMkLst>
        </pc:picChg>
      </pc:sldChg>
      <pc:sldChg chg="del">
        <pc:chgData name="Liu, Changsheng A." userId="877438ce-3489-4027-b8c0-4bd167ef53d0" providerId="ADAL" clId="{A4519760-3F05-4FF7-B9B2-83FCFB1A4164}" dt="2020-07-30T02:55:10.853" v="1260" actId="2696"/>
        <pc:sldMkLst>
          <pc:docMk/>
          <pc:sldMk cId="4264183772" sldId="7062"/>
        </pc:sldMkLst>
      </pc:sldChg>
      <pc:sldChg chg="modTransition">
        <pc:chgData name="Liu, Changsheng A." userId="877438ce-3489-4027-b8c0-4bd167ef53d0" providerId="ADAL" clId="{A4519760-3F05-4FF7-B9B2-83FCFB1A4164}" dt="2020-07-30T02:48:26.142" v="1036"/>
        <pc:sldMkLst>
          <pc:docMk/>
          <pc:sldMk cId="3845467195" sldId="7063"/>
        </pc:sldMkLst>
      </pc:sldChg>
      <pc:sldChg chg="modTransition">
        <pc:chgData name="Liu, Changsheng A." userId="877438ce-3489-4027-b8c0-4bd167ef53d0" providerId="ADAL" clId="{A4519760-3F05-4FF7-B9B2-83FCFB1A4164}" dt="2020-07-30T02:48:26.142" v="1036"/>
        <pc:sldMkLst>
          <pc:docMk/>
          <pc:sldMk cId="165121068" sldId="7067"/>
        </pc:sldMkLst>
      </pc:sldChg>
      <pc:sldChg chg="modTransition">
        <pc:chgData name="Liu, Changsheng A." userId="877438ce-3489-4027-b8c0-4bd167ef53d0" providerId="ADAL" clId="{A4519760-3F05-4FF7-B9B2-83FCFB1A4164}" dt="2020-07-30T02:48:26.142" v="1036"/>
        <pc:sldMkLst>
          <pc:docMk/>
          <pc:sldMk cId="614221364" sldId="7070"/>
        </pc:sldMkLst>
      </pc:sldChg>
      <pc:sldChg chg="addSp modSp">
        <pc:chgData name="Liu, Changsheng A." userId="877438ce-3489-4027-b8c0-4bd167ef53d0" providerId="ADAL" clId="{A4519760-3F05-4FF7-B9B2-83FCFB1A4164}" dt="2020-07-30T02:21:34.442" v="883" actId="1037"/>
        <pc:sldMkLst>
          <pc:docMk/>
          <pc:sldMk cId="2921799353" sldId="7074"/>
        </pc:sldMkLst>
        <pc:spChg chg="add mod">
          <ac:chgData name="Liu, Changsheng A." userId="877438ce-3489-4027-b8c0-4bd167ef53d0" providerId="ADAL" clId="{A4519760-3F05-4FF7-B9B2-83FCFB1A4164}" dt="2020-07-30T02:21:34.442" v="883" actId="1037"/>
          <ac:spMkLst>
            <pc:docMk/>
            <pc:sldMk cId="2921799353" sldId="7074"/>
            <ac:spMk id="9" creationId="{5946505D-127E-488A-A5BF-9682CD656660}"/>
          </ac:spMkLst>
        </pc:spChg>
        <pc:spChg chg="mod">
          <ac:chgData name="Liu, Changsheng A." userId="877438ce-3489-4027-b8c0-4bd167ef53d0" providerId="ADAL" clId="{A4519760-3F05-4FF7-B9B2-83FCFB1A4164}" dt="2020-07-30T02:21:24.288" v="879" actId="207"/>
          <ac:spMkLst>
            <pc:docMk/>
            <pc:sldMk cId="2921799353" sldId="7074"/>
            <ac:spMk id="155" creationId="{6982A03D-8A4B-43BB-91E2-9159A662C013}"/>
          </ac:spMkLst>
        </pc:spChg>
      </pc:sldChg>
      <pc:sldChg chg="addSp delSp modSp ord">
        <pc:chgData name="Liu, Changsheng A." userId="877438ce-3489-4027-b8c0-4bd167ef53d0" providerId="ADAL" clId="{A4519760-3F05-4FF7-B9B2-83FCFB1A4164}" dt="2020-07-30T10:00:13.904" v="3696" actId="14100"/>
        <pc:sldMkLst>
          <pc:docMk/>
          <pc:sldMk cId="1963802781" sldId="7077"/>
        </pc:sldMkLst>
        <pc:spChg chg="del">
          <ac:chgData name="Liu, Changsheng A." userId="877438ce-3489-4027-b8c0-4bd167ef53d0" providerId="ADAL" clId="{A4519760-3F05-4FF7-B9B2-83FCFB1A4164}" dt="2020-07-29T09:36:23.244" v="57" actId="478"/>
          <ac:spMkLst>
            <pc:docMk/>
            <pc:sldMk cId="1963802781" sldId="7077"/>
            <ac:spMk id="4" creationId="{A3F46D79-1009-4BAA-B7F4-C9FF9DD753D5}"/>
          </ac:spMkLst>
        </pc:spChg>
        <pc:spChg chg="mod">
          <ac:chgData name="Liu, Changsheng A." userId="877438ce-3489-4027-b8c0-4bd167ef53d0" providerId="ADAL" clId="{A4519760-3F05-4FF7-B9B2-83FCFB1A4164}" dt="2020-07-30T03:13:57.723" v="1356"/>
          <ac:spMkLst>
            <pc:docMk/>
            <pc:sldMk cId="1963802781" sldId="7077"/>
            <ac:spMk id="5" creationId="{5525C3E1-C803-4D61-889D-6196984AEA1D}"/>
          </ac:spMkLst>
        </pc:spChg>
        <pc:spChg chg="mod">
          <ac:chgData name="Liu, Changsheng A." userId="877438ce-3489-4027-b8c0-4bd167ef53d0" providerId="ADAL" clId="{A4519760-3F05-4FF7-B9B2-83FCFB1A4164}" dt="2020-07-30T09:54:56.460" v="3577" actId="20577"/>
          <ac:spMkLst>
            <pc:docMk/>
            <pc:sldMk cId="1963802781" sldId="7077"/>
            <ac:spMk id="6" creationId="{6F4A8D67-84CB-462E-8BD6-60AD28FC9323}"/>
          </ac:spMkLst>
        </pc:spChg>
        <pc:spChg chg="mod">
          <ac:chgData name="Liu, Changsheng A." userId="877438ce-3489-4027-b8c0-4bd167ef53d0" providerId="ADAL" clId="{A4519760-3F05-4FF7-B9B2-83FCFB1A4164}" dt="2020-07-30T01:17:44.996" v="489" actId="1076"/>
          <ac:spMkLst>
            <pc:docMk/>
            <pc:sldMk cId="1963802781" sldId="7077"/>
            <ac:spMk id="7" creationId="{76CB2933-FBB7-4DA1-9B49-A4DDE2D2DBF1}"/>
          </ac:spMkLst>
        </pc:spChg>
        <pc:spChg chg="add del mod">
          <ac:chgData name="Liu, Changsheng A." userId="877438ce-3489-4027-b8c0-4bd167ef53d0" providerId="ADAL" clId="{A4519760-3F05-4FF7-B9B2-83FCFB1A4164}" dt="2020-07-30T01:11:54.098" v="429" actId="478"/>
          <ac:spMkLst>
            <pc:docMk/>
            <pc:sldMk cId="1963802781" sldId="7077"/>
            <ac:spMk id="8" creationId="{135B6883-0181-43B9-B4E3-446E0FB7BE1D}"/>
          </ac:spMkLst>
        </pc:spChg>
        <pc:spChg chg="add mod">
          <ac:chgData name="Liu, Changsheng A." userId="877438ce-3489-4027-b8c0-4bd167ef53d0" providerId="ADAL" clId="{A4519760-3F05-4FF7-B9B2-83FCFB1A4164}" dt="2020-07-30T09:54:45.351" v="3567" actId="313"/>
          <ac:spMkLst>
            <pc:docMk/>
            <pc:sldMk cId="1963802781" sldId="7077"/>
            <ac:spMk id="9" creationId="{3605EB6E-238C-439E-AACF-29B682B2BE43}"/>
          </ac:spMkLst>
        </pc:spChg>
        <pc:spChg chg="del mod">
          <ac:chgData name="Liu, Changsheng A." userId="877438ce-3489-4027-b8c0-4bd167ef53d0" providerId="ADAL" clId="{A4519760-3F05-4FF7-B9B2-83FCFB1A4164}" dt="2020-07-29T10:40:14.488" v="93"/>
          <ac:spMkLst>
            <pc:docMk/>
            <pc:sldMk cId="1963802781" sldId="7077"/>
            <ac:spMk id="22" creationId="{230F3929-EF5F-485A-85DE-1373EFE787EC}"/>
          </ac:spMkLst>
        </pc:spChg>
        <pc:spChg chg="mod">
          <ac:chgData name="Liu, Changsheng A." userId="877438ce-3489-4027-b8c0-4bd167ef53d0" providerId="ADAL" clId="{A4519760-3F05-4FF7-B9B2-83FCFB1A4164}" dt="2020-07-30T01:18:02.240" v="509" actId="1036"/>
          <ac:spMkLst>
            <pc:docMk/>
            <pc:sldMk cId="1963802781" sldId="7077"/>
            <ac:spMk id="23" creationId="{BDB7E80B-5DC9-4B0E-9C82-CAC19B2E2138}"/>
          </ac:spMkLst>
        </pc:spChg>
        <pc:spChg chg="mod">
          <ac:chgData name="Liu, Changsheng A." userId="877438ce-3489-4027-b8c0-4bd167ef53d0" providerId="ADAL" clId="{A4519760-3F05-4FF7-B9B2-83FCFB1A4164}" dt="2020-07-30T10:00:13.904" v="3696" actId="14100"/>
          <ac:spMkLst>
            <pc:docMk/>
            <pc:sldMk cId="1963802781" sldId="7077"/>
            <ac:spMk id="24" creationId="{27F73309-13A6-498E-B3F5-2AECBAF92920}"/>
          </ac:spMkLst>
        </pc:spChg>
        <pc:spChg chg="mod">
          <ac:chgData name="Liu, Changsheng A." userId="877438ce-3489-4027-b8c0-4bd167ef53d0" providerId="ADAL" clId="{A4519760-3F05-4FF7-B9B2-83FCFB1A4164}" dt="2020-07-30T01:18:02.240" v="509" actId="1036"/>
          <ac:spMkLst>
            <pc:docMk/>
            <pc:sldMk cId="1963802781" sldId="7077"/>
            <ac:spMk id="25" creationId="{64EFA189-370A-4D0D-9951-6AFF89599543}"/>
          </ac:spMkLst>
        </pc:spChg>
        <pc:spChg chg="mod">
          <ac:chgData name="Liu, Changsheng A." userId="877438ce-3489-4027-b8c0-4bd167ef53d0" providerId="ADAL" clId="{A4519760-3F05-4FF7-B9B2-83FCFB1A4164}" dt="2020-07-30T06:50:32.627" v="2711"/>
          <ac:spMkLst>
            <pc:docMk/>
            <pc:sldMk cId="1963802781" sldId="7077"/>
            <ac:spMk id="26" creationId="{4B4211D6-84D1-47A3-83EF-2C384DBFC12B}"/>
          </ac:spMkLst>
        </pc:spChg>
        <pc:spChg chg="mod">
          <ac:chgData name="Liu, Changsheng A." userId="877438ce-3489-4027-b8c0-4bd167ef53d0" providerId="ADAL" clId="{A4519760-3F05-4FF7-B9B2-83FCFB1A4164}" dt="2020-07-30T03:16:05.049" v="1358" actId="14100"/>
          <ac:spMkLst>
            <pc:docMk/>
            <pc:sldMk cId="1963802781" sldId="7077"/>
            <ac:spMk id="27" creationId="{90A56C42-821D-4613-BB32-EB9E88996F71}"/>
          </ac:spMkLst>
        </pc:spChg>
        <pc:spChg chg="mod">
          <ac:chgData name="Liu, Changsheng A." userId="877438ce-3489-4027-b8c0-4bd167ef53d0" providerId="ADAL" clId="{A4519760-3F05-4FF7-B9B2-83FCFB1A4164}" dt="2020-07-30T03:16:20.889" v="1362" actId="14100"/>
          <ac:spMkLst>
            <pc:docMk/>
            <pc:sldMk cId="1963802781" sldId="7077"/>
            <ac:spMk id="28" creationId="{A3B33F57-A7A1-41F1-8370-E8985CCFA070}"/>
          </ac:spMkLst>
        </pc:spChg>
        <pc:spChg chg="mod">
          <ac:chgData name="Liu, Changsheng A." userId="877438ce-3489-4027-b8c0-4bd167ef53d0" providerId="ADAL" clId="{A4519760-3F05-4FF7-B9B2-83FCFB1A4164}" dt="2020-07-30T09:53:24.864" v="3449" actId="20577"/>
          <ac:spMkLst>
            <pc:docMk/>
            <pc:sldMk cId="1963802781" sldId="7077"/>
            <ac:spMk id="29" creationId="{9CBFA52D-831D-4011-945A-29F03EEA8FAA}"/>
          </ac:spMkLst>
        </pc:spChg>
        <pc:spChg chg="mod">
          <ac:chgData name="Liu, Changsheng A." userId="877438ce-3489-4027-b8c0-4bd167ef53d0" providerId="ADAL" clId="{A4519760-3F05-4FF7-B9B2-83FCFB1A4164}" dt="2020-07-30T03:16:24.331" v="1363" actId="14100"/>
          <ac:spMkLst>
            <pc:docMk/>
            <pc:sldMk cId="1963802781" sldId="7077"/>
            <ac:spMk id="30" creationId="{67FA830F-D02D-4577-B29A-86E2937D39D7}"/>
          </ac:spMkLst>
        </pc:spChg>
        <pc:spChg chg="add mod ord">
          <ac:chgData name="Liu, Changsheng A." userId="877438ce-3489-4027-b8c0-4bd167ef53d0" providerId="ADAL" clId="{A4519760-3F05-4FF7-B9B2-83FCFB1A4164}" dt="2020-07-30T01:45:10.690" v="581" actId="1035"/>
          <ac:spMkLst>
            <pc:docMk/>
            <pc:sldMk cId="1963802781" sldId="7077"/>
            <ac:spMk id="31" creationId="{F02AF87B-9473-47B8-9683-9DFE1AD9AABC}"/>
          </ac:spMkLst>
        </pc:spChg>
        <pc:spChg chg="del mod">
          <ac:chgData name="Liu, Changsheng A." userId="877438ce-3489-4027-b8c0-4bd167ef53d0" providerId="ADAL" clId="{A4519760-3F05-4FF7-B9B2-83FCFB1A4164}" dt="2020-07-30T01:12:25.697" v="432" actId="478"/>
          <ac:spMkLst>
            <pc:docMk/>
            <pc:sldMk cId="1963802781" sldId="7077"/>
            <ac:spMk id="32" creationId="{FE66B504-08E5-4717-A614-F1B6119ADAF2}"/>
          </ac:spMkLst>
        </pc:spChg>
        <pc:spChg chg="add del mod">
          <ac:chgData name="Liu, Changsheng A." userId="877438ce-3489-4027-b8c0-4bd167ef53d0" providerId="ADAL" clId="{A4519760-3F05-4FF7-B9B2-83FCFB1A4164}" dt="2020-07-30T03:16:52.198" v="1368" actId="1076"/>
          <ac:spMkLst>
            <pc:docMk/>
            <pc:sldMk cId="1963802781" sldId="7077"/>
            <ac:spMk id="33" creationId="{95E9A7E3-E0C8-4F1D-BD93-98C5FCA9DEC4}"/>
          </ac:spMkLst>
        </pc:spChg>
        <pc:spChg chg="mod">
          <ac:chgData name="Liu, Changsheng A." userId="877438ce-3489-4027-b8c0-4bd167ef53d0" providerId="ADAL" clId="{A4519760-3F05-4FF7-B9B2-83FCFB1A4164}" dt="2020-07-30T03:16:52.198" v="1368" actId="1076"/>
          <ac:spMkLst>
            <pc:docMk/>
            <pc:sldMk cId="1963802781" sldId="7077"/>
            <ac:spMk id="34" creationId="{F4067DA3-2BE3-4272-A8C5-5F471E809BF0}"/>
          </ac:spMkLst>
        </pc:spChg>
        <pc:spChg chg="mod">
          <ac:chgData name="Liu, Changsheng A." userId="877438ce-3489-4027-b8c0-4bd167ef53d0" providerId="ADAL" clId="{A4519760-3F05-4FF7-B9B2-83FCFB1A4164}" dt="2020-07-30T03:16:52.198" v="1368" actId="1076"/>
          <ac:spMkLst>
            <pc:docMk/>
            <pc:sldMk cId="1963802781" sldId="7077"/>
            <ac:spMk id="35" creationId="{533B1302-28A1-4834-BF54-147EA84214E7}"/>
          </ac:spMkLst>
        </pc:spChg>
        <pc:spChg chg="mod">
          <ac:chgData name="Liu, Changsheng A." userId="877438ce-3489-4027-b8c0-4bd167ef53d0" providerId="ADAL" clId="{A4519760-3F05-4FF7-B9B2-83FCFB1A4164}" dt="2020-07-30T09:58:53.420" v="3693" actId="1076"/>
          <ac:spMkLst>
            <pc:docMk/>
            <pc:sldMk cId="1963802781" sldId="7077"/>
            <ac:spMk id="36" creationId="{512DE871-182D-4DF0-AEE9-D255F3ECF4F7}"/>
          </ac:spMkLst>
        </pc:spChg>
        <pc:spChg chg="mod">
          <ac:chgData name="Liu, Changsheng A." userId="877438ce-3489-4027-b8c0-4bd167ef53d0" providerId="ADAL" clId="{A4519760-3F05-4FF7-B9B2-83FCFB1A4164}" dt="2020-07-30T09:53:36.768" v="3451" actId="1076"/>
          <ac:spMkLst>
            <pc:docMk/>
            <pc:sldMk cId="1963802781" sldId="7077"/>
            <ac:spMk id="37" creationId="{391C335C-7AC6-472D-934C-B4B8970CB023}"/>
          </ac:spMkLst>
        </pc:spChg>
        <pc:spChg chg="add mod">
          <ac:chgData name="Liu, Changsheng A." userId="877438ce-3489-4027-b8c0-4bd167ef53d0" providerId="ADAL" clId="{A4519760-3F05-4FF7-B9B2-83FCFB1A4164}" dt="2020-07-30T09:57:44.544" v="3587" actId="1076"/>
          <ac:spMkLst>
            <pc:docMk/>
            <pc:sldMk cId="1963802781" sldId="7077"/>
            <ac:spMk id="38" creationId="{C35485CA-AC54-48F2-A57B-00F19AE1BE7A}"/>
          </ac:spMkLst>
        </pc:spChg>
        <pc:spChg chg="add mod">
          <ac:chgData name="Liu, Changsheng A." userId="877438ce-3489-4027-b8c0-4bd167ef53d0" providerId="ADAL" clId="{A4519760-3F05-4FF7-B9B2-83FCFB1A4164}" dt="2020-07-30T01:18:36.871" v="514" actId="14100"/>
          <ac:spMkLst>
            <pc:docMk/>
            <pc:sldMk cId="1963802781" sldId="7077"/>
            <ac:spMk id="39" creationId="{5D61C363-3181-4431-AE4C-812E19C2937E}"/>
          </ac:spMkLst>
        </pc:spChg>
        <pc:spChg chg="add mod">
          <ac:chgData name="Liu, Changsheng A." userId="877438ce-3489-4027-b8c0-4bd167ef53d0" providerId="ADAL" clId="{A4519760-3F05-4FF7-B9B2-83FCFB1A4164}" dt="2020-07-30T02:57:21.482" v="1270"/>
          <ac:spMkLst>
            <pc:docMk/>
            <pc:sldMk cId="1963802781" sldId="7077"/>
            <ac:spMk id="40" creationId="{A40B3844-618F-4BA6-B182-034ECD0DD180}"/>
          </ac:spMkLst>
        </pc:spChg>
        <pc:spChg chg="add mod">
          <ac:chgData name="Liu, Changsheng A." userId="877438ce-3489-4027-b8c0-4bd167ef53d0" providerId="ADAL" clId="{A4519760-3F05-4FF7-B9B2-83FCFB1A4164}" dt="2020-07-30T06:50:53.841" v="2720"/>
          <ac:spMkLst>
            <pc:docMk/>
            <pc:sldMk cId="1963802781" sldId="7077"/>
            <ac:spMk id="41" creationId="{6CFC4858-9784-410F-9BA8-FB304BBC7DE9}"/>
          </ac:spMkLst>
        </pc:spChg>
        <pc:spChg chg="add del mod">
          <ac:chgData name="Liu, Changsheng A." userId="877438ce-3489-4027-b8c0-4bd167ef53d0" providerId="ADAL" clId="{A4519760-3F05-4FF7-B9B2-83FCFB1A4164}" dt="2020-07-30T06:50:36.633" v="2712" actId="478"/>
          <ac:spMkLst>
            <pc:docMk/>
            <pc:sldMk cId="1963802781" sldId="7077"/>
            <ac:spMk id="42" creationId="{76FA23D0-F606-485A-9C18-17CEE9255518}"/>
          </ac:spMkLst>
        </pc:spChg>
        <pc:spChg chg="add mod">
          <ac:chgData name="Liu, Changsheng A." userId="877438ce-3489-4027-b8c0-4bd167ef53d0" providerId="ADAL" clId="{A4519760-3F05-4FF7-B9B2-83FCFB1A4164}" dt="2020-07-30T06:50:39.952" v="2713" actId="1076"/>
          <ac:spMkLst>
            <pc:docMk/>
            <pc:sldMk cId="1963802781" sldId="7077"/>
            <ac:spMk id="43" creationId="{8DC01F67-DC0A-465C-8950-D7DB5FF29B38}"/>
          </ac:spMkLst>
        </pc:spChg>
        <pc:spChg chg="add mod">
          <ac:chgData name="Liu, Changsheng A." userId="877438ce-3489-4027-b8c0-4bd167ef53d0" providerId="ADAL" clId="{A4519760-3F05-4FF7-B9B2-83FCFB1A4164}" dt="2020-07-30T06:50:43.986" v="2714" actId="1076"/>
          <ac:spMkLst>
            <pc:docMk/>
            <pc:sldMk cId="1963802781" sldId="7077"/>
            <ac:spMk id="44" creationId="{1A40370D-2B91-4603-AEA4-DEDFD145A320}"/>
          </ac:spMkLst>
        </pc:spChg>
        <pc:spChg chg="add mod">
          <ac:chgData name="Liu, Changsheng A." userId="877438ce-3489-4027-b8c0-4bd167ef53d0" providerId="ADAL" clId="{A4519760-3F05-4FF7-B9B2-83FCFB1A4164}" dt="2020-07-30T09:59:07.639" v="3695" actId="1076"/>
          <ac:spMkLst>
            <pc:docMk/>
            <pc:sldMk cId="1963802781" sldId="7077"/>
            <ac:spMk id="45" creationId="{FFF68555-B1D5-4D98-8F80-66E10B671E27}"/>
          </ac:spMkLst>
        </pc:spChg>
        <pc:spChg chg="add mod">
          <ac:chgData name="Liu, Changsheng A." userId="877438ce-3489-4027-b8c0-4bd167ef53d0" providerId="ADAL" clId="{A4519760-3F05-4FF7-B9B2-83FCFB1A4164}" dt="2020-07-30T09:58:17.264" v="3691" actId="207"/>
          <ac:spMkLst>
            <pc:docMk/>
            <pc:sldMk cId="1963802781" sldId="7077"/>
            <ac:spMk id="46" creationId="{9E8C4EC0-50EF-40B6-BD50-B512F93B30A4}"/>
          </ac:spMkLst>
        </pc:spChg>
        <pc:graphicFrameChg chg="mod ord modGraphic">
          <ac:chgData name="Liu, Changsheng A." userId="877438ce-3489-4027-b8c0-4bd167ef53d0" providerId="ADAL" clId="{A4519760-3F05-4FF7-B9B2-83FCFB1A4164}" dt="2020-07-30T01:16:19.636" v="480" actId="167"/>
          <ac:graphicFrameMkLst>
            <pc:docMk/>
            <pc:sldMk cId="1963802781" sldId="7077"/>
            <ac:graphicFrameMk id="3" creationId="{6E3757C8-D0BF-493A-AB89-2F03F07BD880}"/>
          </ac:graphicFrameMkLst>
        </pc:graphicFrameChg>
        <pc:graphicFrameChg chg="del mod modGraphic">
          <ac:chgData name="Liu, Changsheng A." userId="877438ce-3489-4027-b8c0-4bd167ef53d0" providerId="ADAL" clId="{A4519760-3F05-4FF7-B9B2-83FCFB1A4164}" dt="2020-07-30T00:27:46.520" v="175" actId="478"/>
          <ac:graphicFrameMkLst>
            <pc:docMk/>
            <pc:sldMk cId="1963802781" sldId="7077"/>
            <ac:graphicFrameMk id="17" creationId="{5668586B-9742-4C55-87CF-0CBBFEFF1FC4}"/>
          </ac:graphicFrameMkLst>
        </pc:graphicFrameChg>
      </pc:sldChg>
      <pc:sldChg chg="modSp del">
        <pc:chgData name="Liu, Changsheng A." userId="877438ce-3489-4027-b8c0-4bd167ef53d0" providerId="ADAL" clId="{A4519760-3F05-4FF7-B9B2-83FCFB1A4164}" dt="2020-07-30T01:48:57.137" v="675" actId="2696"/>
        <pc:sldMkLst>
          <pc:docMk/>
          <pc:sldMk cId="2382691227" sldId="7078"/>
        </pc:sldMkLst>
        <pc:spChg chg="mod">
          <ac:chgData name="Liu, Changsheng A." userId="877438ce-3489-4027-b8c0-4bd167ef53d0" providerId="ADAL" clId="{A4519760-3F05-4FF7-B9B2-83FCFB1A4164}" dt="2020-07-29T10:00:05.121" v="72" actId="1036"/>
          <ac:spMkLst>
            <pc:docMk/>
            <pc:sldMk cId="2382691227" sldId="7078"/>
            <ac:spMk id="13" creationId="{FF5FA3B4-46E7-489B-B51B-CE6EF5AFA030}"/>
          </ac:spMkLst>
        </pc:spChg>
        <pc:spChg chg="mod">
          <ac:chgData name="Liu, Changsheng A." userId="877438ce-3489-4027-b8c0-4bd167ef53d0" providerId="ADAL" clId="{A4519760-3F05-4FF7-B9B2-83FCFB1A4164}" dt="2020-07-29T09:59:59.605" v="69" actId="1036"/>
          <ac:spMkLst>
            <pc:docMk/>
            <pc:sldMk cId="2382691227" sldId="7078"/>
            <ac:spMk id="31" creationId="{DDAA71DB-68EF-47D8-BD23-A1FB40876046}"/>
          </ac:spMkLst>
        </pc:spChg>
        <pc:graphicFrameChg chg="mod modGraphic">
          <ac:chgData name="Liu, Changsheng A." userId="877438ce-3489-4027-b8c0-4bd167ef53d0" providerId="ADAL" clId="{A4519760-3F05-4FF7-B9B2-83FCFB1A4164}" dt="2020-07-29T09:59:59.605" v="69" actId="1036"/>
          <ac:graphicFrameMkLst>
            <pc:docMk/>
            <pc:sldMk cId="2382691227" sldId="7078"/>
            <ac:graphicFrameMk id="3" creationId="{D41FE0B8-1A4A-41F7-8E33-672D79355672}"/>
          </ac:graphicFrameMkLst>
        </pc:graphicFrameChg>
      </pc:sldChg>
      <pc:sldChg chg="addSp delSp modSp add">
        <pc:chgData name="Liu, Changsheng A." userId="877438ce-3489-4027-b8c0-4bd167ef53d0" providerId="ADAL" clId="{A4519760-3F05-4FF7-B9B2-83FCFB1A4164}" dt="2020-07-30T06:05:45.998" v="2524"/>
        <pc:sldMkLst>
          <pc:docMk/>
          <pc:sldMk cId="2507160028" sldId="7079"/>
        </pc:sldMkLst>
        <pc:spChg chg="mod">
          <ac:chgData name="Liu, Changsheng A." userId="877438ce-3489-4027-b8c0-4bd167ef53d0" providerId="ADAL" clId="{A4519760-3F05-4FF7-B9B2-83FCFB1A4164}" dt="2020-07-30T06:04:02.083" v="2493" actId="1076"/>
          <ac:spMkLst>
            <pc:docMk/>
            <pc:sldMk cId="2507160028" sldId="7079"/>
            <ac:spMk id="13" creationId="{FF5FA3B4-46E7-489B-B51B-CE6EF5AFA030}"/>
          </ac:spMkLst>
        </pc:spChg>
        <pc:spChg chg="add del mod">
          <ac:chgData name="Liu, Changsheng A." userId="877438ce-3489-4027-b8c0-4bd167ef53d0" providerId="ADAL" clId="{A4519760-3F05-4FF7-B9B2-83FCFB1A4164}" dt="2020-07-30T01:48:23.475" v="669" actId="478"/>
          <ac:spMkLst>
            <pc:docMk/>
            <pc:sldMk cId="2507160028" sldId="7079"/>
            <ac:spMk id="14" creationId="{39433122-1F67-412F-85AC-CCEF51607512}"/>
          </ac:spMkLst>
        </pc:spChg>
        <pc:spChg chg="add mod">
          <ac:chgData name="Liu, Changsheng A." userId="877438ce-3489-4027-b8c0-4bd167ef53d0" providerId="ADAL" clId="{A4519760-3F05-4FF7-B9B2-83FCFB1A4164}" dt="2020-07-30T06:04:37.723" v="2500" actId="1076"/>
          <ac:spMkLst>
            <pc:docMk/>
            <pc:sldMk cId="2507160028" sldId="7079"/>
            <ac:spMk id="15" creationId="{0B00A283-1AE8-40C3-B99C-B8AF1E544AE6}"/>
          </ac:spMkLst>
        </pc:spChg>
        <pc:spChg chg="del">
          <ac:chgData name="Liu, Changsheng A." userId="877438ce-3489-4027-b8c0-4bd167ef53d0" providerId="ADAL" clId="{A4519760-3F05-4FF7-B9B2-83FCFB1A4164}" dt="2020-07-29T11:00:08.558" v="130" actId="478"/>
          <ac:spMkLst>
            <pc:docMk/>
            <pc:sldMk cId="2507160028" sldId="7079"/>
            <ac:spMk id="16" creationId="{737E61A4-7DC6-436C-9CB9-16F6C1A3BFC5}"/>
          </ac:spMkLst>
        </pc:spChg>
        <pc:spChg chg="del">
          <ac:chgData name="Liu, Changsheng A." userId="877438ce-3489-4027-b8c0-4bd167ef53d0" providerId="ADAL" clId="{A4519760-3F05-4FF7-B9B2-83FCFB1A4164}" dt="2020-07-29T11:00:06.962" v="129" actId="478"/>
          <ac:spMkLst>
            <pc:docMk/>
            <pc:sldMk cId="2507160028" sldId="7079"/>
            <ac:spMk id="17" creationId="{7FC9D176-8821-45EE-8C90-83C4A77C4178}"/>
          </ac:spMkLst>
        </pc:spChg>
        <pc:spChg chg="del">
          <ac:chgData name="Liu, Changsheng A." userId="877438ce-3489-4027-b8c0-4bd167ef53d0" providerId="ADAL" clId="{A4519760-3F05-4FF7-B9B2-83FCFB1A4164}" dt="2020-07-29T11:00:11.512" v="131" actId="478"/>
          <ac:spMkLst>
            <pc:docMk/>
            <pc:sldMk cId="2507160028" sldId="7079"/>
            <ac:spMk id="18" creationId="{24100EB1-5814-4C9F-A13C-6EE7B11CB589}"/>
          </ac:spMkLst>
        </pc:spChg>
        <pc:spChg chg="add mod">
          <ac:chgData name="Liu, Changsheng A." userId="877438ce-3489-4027-b8c0-4bd167ef53d0" providerId="ADAL" clId="{A4519760-3F05-4FF7-B9B2-83FCFB1A4164}" dt="2020-07-30T06:04:37.723" v="2500" actId="1076"/>
          <ac:spMkLst>
            <pc:docMk/>
            <pc:sldMk cId="2507160028" sldId="7079"/>
            <ac:spMk id="19" creationId="{4939358C-4E70-487A-B200-1F687810FFDB}"/>
          </ac:spMkLst>
        </pc:spChg>
        <pc:spChg chg="mod">
          <ac:chgData name="Liu, Changsheng A." userId="877438ce-3489-4027-b8c0-4bd167ef53d0" providerId="ADAL" clId="{A4519760-3F05-4FF7-B9B2-83FCFB1A4164}" dt="2020-07-30T06:04:28.385" v="2498" actId="14100"/>
          <ac:spMkLst>
            <pc:docMk/>
            <pc:sldMk cId="2507160028" sldId="7079"/>
            <ac:spMk id="23" creationId="{CB055D03-5E0B-402C-9EE4-5CD68C7BFA2B}"/>
          </ac:spMkLst>
        </pc:spChg>
        <pc:spChg chg="mod">
          <ac:chgData name="Liu, Changsheng A." userId="877438ce-3489-4027-b8c0-4bd167ef53d0" providerId="ADAL" clId="{A4519760-3F05-4FF7-B9B2-83FCFB1A4164}" dt="2020-07-30T06:04:30.467" v="2499" actId="14100"/>
          <ac:spMkLst>
            <pc:docMk/>
            <pc:sldMk cId="2507160028" sldId="7079"/>
            <ac:spMk id="24" creationId="{41B1751F-88A7-44FF-BE8F-7C4F64B13ED8}"/>
          </ac:spMkLst>
        </pc:spChg>
        <pc:spChg chg="del">
          <ac:chgData name="Liu, Changsheng A." userId="877438ce-3489-4027-b8c0-4bd167ef53d0" providerId="ADAL" clId="{A4519760-3F05-4FF7-B9B2-83FCFB1A4164}" dt="2020-07-29T11:01:53.065" v="163" actId="478"/>
          <ac:spMkLst>
            <pc:docMk/>
            <pc:sldMk cId="2507160028" sldId="7079"/>
            <ac:spMk id="30" creationId="{2ED8572C-1FFD-4B83-8E11-CAD0E0F2E38E}"/>
          </ac:spMkLst>
        </pc:spChg>
        <pc:spChg chg="del">
          <ac:chgData name="Liu, Changsheng A." userId="877438ce-3489-4027-b8c0-4bd167ef53d0" providerId="ADAL" clId="{A4519760-3F05-4FF7-B9B2-83FCFB1A4164}" dt="2020-07-29T11:01:14.719" v="155" actId="478"/>
          <ac:spMkLst>
            <pc:docMk/>
            <pc:sldMk cId="2507160028" sldId="7079"/>
            <ac:spMk id="31" creationId="{DDAA71DB-68EF-47D8-BD23-A1FB40876046}"/>
          </ac:spMkLst>
        </pc:spChg>
        <pc:spChg chg="del">
          <ac:chgData name="Liu, Changsheng A." userId="877438ce-3489-4027-b8c0-4bd167ef53d0" providerId="ADAL" clId="{A4519760-3F05-4FF7-B9B2-83FCFB1A4164}" dt="2020-07-29T11:01:13.201" v="154" actId="478"/>
          <ac:spMkLst>
            <pc:docMk/>
            <pc:sldMk cId="2507160028" sldId="7079"/>
            <ac:spMk id="32" creationId="{46366D03-99AF-4D33-B8C1-AE83DB3EE1C5}"/>
          </ac:spMkLst>
        </pc:spChg>
        <pc:graphicFrameChg chg="del">
          <ac:chgData name="Liu, Changsheng A." userId="877438ce-3489-4027-b8c0-4bd167ef53d0" providerId="ADAL" clId="{A4519760-3F05-4FF7-B9B2-83FCFB1A4164}" dt="2020-07-29T11:01:06.202" v="151" actId="478"/>
          <ac:graphicFrameMkLst>
            <pc:docMk/>
            <pc:sldMk cId="2507160028" sldId="7079"/>
            <ac:graphicFrameMk id="3" creationId="{D41FE0B8-1A4A-41F7-8E33-672D79355672}"/>
          </ac:graphicFrameMkLst>
        </pc:graphicFrameChg>
        <pc:graphicFrameChg chg="mod modGraphic">
          <ac:chgData name="Liu, Changsheng A." userId="877438ce-3489-4027-b8c0-4bd167ef53d0" providerId="ADAL" clId="{A4519760-3F05-4FF7-B9B2-83FCFB1A4164}" dt="2020-07-30T06:05:45.998" v="2524"/>
          <ac:graphicFrameMkLst>
            <pc:docMk/>
            <pc:sldMk cId="2507160028" sldId="7079"/>
            <ac:graphicFrameMk id="4" creationId="{170FE5E5-5901-48B2-824E-EB8DEC2D219B}"/>
          </ac:graphicFrameMkLst>
        </pc:graphicFrameChg>
        <pc:graphicFrameChg chg="add mod modGraphic">
          <ac:chgData name="Liu, Changsheng A." userId="877438ce-3489-4027-b8c0-4bd167ef53d0" providerId="ADAL" clId="{A4519760-3F05-4FF7-B9B2-83FCFB1A4164}" dt="2020-07-30T06:05:35.558" v="2504" actId="207"/>
          <ac:graphicFrameMkLst>
            <pc:docMk/>
            <pc:sldMk cId="2507160028" sldId="7079"/>
            <ac:graphicFrameMk id="20" creationId="{0E16624C-8DE5-4784-8E8B-2DE0488CCC1E}"/>
          </ac:graphicFrameMkLst>
        </pc:graphicFrameChg>
      </pc:sldChg>
      <pc:sldChg chg="addSp delSp modSp add del">
        <pc:chgData name="Liu, Changsheng A." userId="877438ce-3489-4027-b8c0-4bd167ef53d0" providerId="ADAL" clId="{A4519760-3F05-4FF7-B9B2-83FCFB1A4164}" dt="2020-07-30T06:04:20.193" v="2497" actId="2696"/>
        <pc:sldMkLst>
          <pc:docMk/>
          <pc:sldMk cId="2586214771" sldId="7080"/>
        </pc:sldMkLst>
        <pc:spChg chg="del">
          <ac:chgData name="Liu, Changsheng A." userId="877438ce-3489-4027-b8c0-4bd167ef53d0" providerId="ADAL" clId="{A4519760-3F05-4FF7-B9B2-83FCFB1A4164}" dt="2020-07-29T11:03:07.398" v="167" actId="478"/>
          <ac:spMkLst>
            <pc:docMk/>
            <pc:sldMk cId="2586214771" sldId="7080"/>
            <ac:spMk id="13" creationId="{FF5FA3B4-46E7-489B-B51B-CE6EF5AFA030}"/>
          </ac:spMkLst>
        </pc:spChg>
        <pc:spChg chg="mod">
          <ac:chgData name="Liu, Changsheng A." userId="877438ce-3489-4027-b8c0-4bd167ef53d0" providerId="ADAL" clId="{A4519760-3F05-4FF7-B9B2-83FCFB1A4164}" dt="2020-07-30T06:03:45.175" v="2492" actId="1076"/>
          <ac:spMkLst>
            <pc:docMk/>
            <pc:sldMk cId="2586214771" sldId="7080"/>
            <ac:spMk id="23" creationId="{CB055D03-5E0B-402C-9EE4-5CD68C7BFA2B}"/>
          </ac:spMkLst>
        </pc:spChg>
        <pc:spChg chg="mod">
          <ac:chgData name="Liu, Changsheng A." userId="877438ce-3489-4027-b8c0-4bd167ef53d0" providerId="ADAL" clId="{A4519760-3F05-4FF7-B9B2-83FCFB1A4164}" dt="2020-07-30T06:03:45.175" v="2492" actId="1076"/>
          <ac:spMkLst>
            <pc:docMk/>
            <pc:sldMk cId="2586214771" sldId="7080"/>
            <ac:spMk id="24" creationId="{41B1751F-88A7-44FF-BE8F-7C4F64B13ED8}"/>
          </ac:spMkLst>
        </pc:spChg>
        <pc:spChg chg="del">
          <ac:chgData name="Liu, Changsheng A." userId="877438ce-3489-4027-b8c0-4bd167ef53d0" providerId="ADAL" clId="{A4519760-3F05-4FF7-B9B2-83FCFB1A4164}" dt="2020-07-29T11:03:09.138" v="168" actId="478"/>
          <ac:spMkLst>
            <pc:docMk/>
            <pc:sldMk cId="2586214771" sldId="7080"/>
            <ac:spMk id="30" creationId="{2ED8572C-1FFD-4B83-8E11-CAD0E0F2E38E}"/>
          </ac:spMkLst>
        </pc:spChg>
        <pc:spChg chg="del">
          <ac:chgData name="Liu, Changsheng A." userId="877438ce-3489-4027-b8c0-4bd167ef53d0" providerId="ADAL" clId="{A4519760-3F05-4FF7-B9B2-83FCFB1A4164}" dt="2020-07-29T11:03:11.840" v="169" actId="478"/>
          <ac:spMkLst>
            <pc:docMk/>
            <pc:sldMk cId="2586214771" sldId="7080"/>
            <ac:spMk id="31" creationId="{DDAA71DB-68EF-47D8-BD23-A1FB40876046}"/>
          </ac:spMkLst>
        </pc:spChg>
        <pc:spChg chg="add del mod">
          <ac:chgData name="Liu, Changsheng A." userId="877438ce-3489-4027-b8c0-4bd167ef53d0" providerId="ADAL" clId="{A4519760-3F05-4FF7-B9B2-83FCFB1A4164}" dt="2020-07-30T01:54:10.894" v="718" actId="478"/>
          <ac:spMkLst>
            <pc:docMk/>
            <pc:sldMk cId="2586214771" sldId="7080"/>
            <ac:spMk id="32" creationId="{46366D03-99AF-4D33-B8C1-AE83DB3EE1C5}"/>
          </ac:spMkLst>
        </pc:spChg>
        <pc:graphicFrameChg chg="mod modGraphic">
          <ac:chgData name="Liu, Changsheng A." userId="877438ce-3489-4027-b8c0-4bd167ef53d0" providerId="ADAL" clId="{A4519760-3F05-4FF7-B9B2-83FCFB1A4164}" dt="2020-07-30T06:03:45.175" v="2492" actId="1076"/>
          <ac:graphicFrameMkLst>
            <pc:docMk/>
            <pc:sldMk cId="2586214771" sldId="7080"/>
            <ac:graphicFrameMk id="3" creationId="{D41FE0B8-1A4A-41F7-8E33-672D79355672}"/>
          </ac:graphicFrameMkLst>
        </pc:graphicFrameChg>
        <pc:graphicFrameChg chg="del">
          <ac:chgData name="Liu, Changsheng A." userId="877438ce-3489-4027-b8c0-4bd167ef53d0" providerId="ADAL" clId="{A4519760-3F05-4FF7-B9B2-83FCFB1A4164}" dt="2020-07-29T11:03:05.894" v="166" actId="478"/>
          <ac:graphicFrameMkLst>
            <pc:docMk/>
            <pc:sldMk cId="2586214771" sldId="7080"/>
            <ac:graphicFrameMk id="4" creationId="{170FE5E5-5901-48B2-824E-EB8DEC2D219B}"/>
          </ac:graphicFrameMkLst>
        </pc:graphicFrameChg>
      </pc:sldChg>
      <pc:sldChg chg="addSp delSp modSp add ord">
        <pc:chgData name="Liu, Changsheng A." userId="877438ce-3489-4027-b8c0-4bd167ef53d0" providerId="ADAL" clId="{A4519760-3F05-4FF7-B9B2-83FCFB1A4164}" dt="2020-07-30T03:09:48.529" v="1299"/>
        <pc:sldMkLst>
          <pc:docMk/>
          <pc:sldMk cId="3176210129" sldId="7081"/>
        </pc:sldMkLst>
        <pc:spChg chg="add mod">
          <ac:chgData name="Liu, Changsheng A." userId="877438ce-3489-4027-b8c0-4bd167ef53d0" providerId="ADAL" clId="{A4519760-3F05-4FF7-B9B2-83FCFB1A4164}" dt="2020-07-30T03:09:48.529" v="1299"/>
          <ac:spMkLst>
            <pc:docMk/>
            <pc:sldMk cId="3176210129" sldId="7081"/>
            <ac:spMk id="7" creationId="{772EE9BD-F939-4CD2-B23D-9723979D4A8E}"/>
          </ac:spMkLst>
        </pc:spChg>
        <pc:spChg chg="mod">
          <ac:chgData name="Liu, Changsheng A." userId="877438ce-3489-4027-b8c0-4bd167ef53d0" providerId="ADAL" clId="{A4519760-3F05-4FF7-B9B2-83FCFB1A4164}" dt="2020-07-30T01:47:56.279" v="664"/>
          <ac:spMkLst>
            <pc:docMk/>
            <pc:sldMk cId="3176210129" sldId="7081"/>
            <ac:spMk id="23" creationId="{CB055D03-5E0B-402C-9EE4-5CD68C7BFA2B}"/>
          </ac:spMkLst>
        </pc:spChg>
        <pc:spChg chg="mod">
          <ac:chgData name="Liu, Changsheng A." userId="877438ce-3489-4027-b8c0-4bd167ef53d0" providerId="ADAL" clId="{A4519760-3F05-4FF7-B9B2-83FCFB1A4164}" dt="2020-07-30T01:47:36.197" v="659"/>
          <ac:spMkLst>
            <pc:docMk/>
            <pc:sldMk cId="3176210129" sldId="7081"/>
            <ac:spMk id="24" creationId="{41B1751F-88A7-44FF-BE8F-7C4F64B13ED8}"/>
          </ac:spMkLst>
        </pc:spChg>
        <pc:spChg chg="del">
          <ac:chgData name="Liu, Changsheng A." userId="877438ce-3489-4027-b8c0-4bd167ef53d0" providerId="ADAL" clId="{A4519760-3F05-4FF7-B9B2-83FCFB1A4164}" dt="2020-07-30T01:47:41.062" v="661" actId="478"/>
          <ac:spMkLst>
            <pc:docMk/>
            <pc:sldMk cId="3176210129" sldId="7081"/>
            <ac:spMk id="32" creationId="{46366D03-99AF-4D33-B8C1-AE83DB3EE1C5}"/>
          </ac:spMkLst>
        </pc:spChg>
        <pc:graphicFrameChg chg="del">
          <ac:chgData name="Liu, Changsheng A." userId="877438ce-3489-4027-b8c0-4bd167ef53d0" providerId="ADAL" clId="{A4519760-3F05-4FF7-B9B2-83FCFB1A4164}" dt="2020-07-30T01:47:39.755" v="660" actId="478"/>
          <ac:graphicFrameMkLst>
            <pc:docMk/>
            <pc:sldMk cId="3176210129" sldId="7081"/>
            <ac:graphicFrameMk id="3" creationId="{D41FE0B8-1A4A-41F7-8E33-672D79355672}"/>
          </ac:graphicFrameMkLst>
        </pc:graphicFrameChg>
      </pc:sldChg>
      <pc:sldChg chg="addSp delSp modSp add">
        <pc:chgData name="Liu, Changsheng A." userId="877438ce-3489-4027-b8c0-4bd167ef53d0" providerId="ADAL" clId="{A4519760-3F05-4FF7-B9B2-83FCFB1A4164}" dt="2020-07-30T09:51:29.483" v="3446"/>
        <pc:sldMkLst>
          <pc:docMk/>
          <pc:sldMk cId="153927648" sldId="7082"/>
        </pc:sldMkLst>
        <pc:spChg chg="mod">
          <ac:chgData name="Liu, Changsheng A." userId="877438ce-3489-4027-b8c0-4bd167ef53d0" providerId="ADAL" clId="{A4519760-3F05-4FF7-B9B2-83FCFB1A4164}" dt="2020-07-30T03:29:23.901" v="1400"/>
          <ac:spMkLst>
            <pc:docMk/>
            <pc:sldMk cId="153927648" sldId="7082"/>
            <ac:spMk id="2" creationId="{181887AC-1E0B-4269-89DB-CE4A0D5F5100}"/>
          </ac:spMkLst>
        </pc:spChg>
        <pc:spChg chg="add del mod topLvl">
          <ac:chgData name="Liu, Changsheng A." userId="877438ce-3489-4027-b8c0-4bd167ef53d0" providerId="ADAL" clId="{A4519760-3F05-4FF7-B9B2-83FCFB1A4164}" dt="2020-07-30T04:15:53.126" v="2407" actId="478"/>
          <ac:spMkLst>
            <pc:docMk/>
            <pc:sldMk cId="153927648" sldId="7082"/>
            <ac:spMk id="8" creationId="{8B03DD47-AC81-4856-95A3-A4EC08B2B230}"/>
          </ac:spMkLst>
        </pc:spChg>
        <pc:spChg chg="add del mod topLvl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9" creationId="{1A3E1775-F6B9-4C48-B071-592D5CE5AC44}"/>
          </ac:spMkLst>
        </pc:spChg>
        <pc:spChg chg="add">
          <ac:chgData name="Liu, Changsheng A." userId="877438ce-3489-4027-b8c0-4bd167ef53d0" providerId="ADAL" clId="{A4519760-3F05-4FF7-B9B2-83FCFB1A4164}" dt="2020-07-30T03:39:29.213" v="1415"/>
          <ac:spMkLst>
            <pc:docMk/>
            <pc:sldMk cId="153927648" sldId="7082"/>
            <ac:spMk id="11" creationId="{DC34D92D-DAF9-4F17-BB3C-D0D5B4DE3A4A}"/>
          </ac:spMkLst>
        </pc:spChg>
        <pc:spChg chg="add">
          <ac:chgData name="Liu, Changsheng A." userId="877438ce-3489-4027-b8c0-4bd167ef53d0" providerId="ADAL" clId="{A4519760-3F05-4FF7-B9B2-83FCFB1A4164}" dt="2020-07-30T03:39:29.213" v="1415"/>
          <ac:spMkLst>
            <pc:docMk/>
            <pc:sldMk cId="153927648" sldId="7082"/>
            <ac:spMk id="12" creationId="{F5F03840-1BED-4F45-BA86-A7AC9ED93520}"/>
          </ac:spMkLst>
        </pc:spChg>
        <pc:spChg chg="add del mod">
          <ac:chgData name="Liu, Changsheng A." userId="877438ce-3489-4027-b8c0-4bd167ef53d0" providerId="ADAL" clId="{A4519760-3F05-4FF7-B9B2-83FCFB1A4164}" dt="2020-07-30T05:12:50.120" v="2486" actId="478"/>
          <ac:spMkLst>
            <pc:docMk/>
            <pc:sldMk cId="153927648" sldId="7082"/>
            <ac:spMk id="15" creationId="{72486792-0DCC-4BDD-862F-3F04E930E28F}"/>
          </ac:spMkLst>
        </pc:spChg>
        <pc:spChg chg="add mod">
          <ac:chgData name="Liu, Changsheng A." userId="877438ce-3489-4027-b8c0-4bd167ef53d0" providerId="ADAL" clId="{A4519760-3F05-4FF7-B9B2-83FCFB1A4164}" dt="2020-07-30T09:14:22.092" v="2988"/>
          <ac:spMkLst>
            <pc:docMk/>
            <pc:sldMk cId="153927648" sldId="7082"/>
            <ac:spMk id="16" creationId="{321ABA98-DB8F-424E-9DBD-D12A68EF7B07}"/>
          </ac:spMkLst>
        </pc:spChg>
        <pc:spChg chg="add mod">
          <ac:chgData name="Liu, Changsheng A." userId="877438ce-3489-4027-b8c0-4bd167ef53d0" providerId="ADAL" clId="{A4519760-3F05-4FF7-B9B2-83FCFB1A4164}" dt="2020-07-30T09:09:26.517" v="2744" actId="552"/>
          <ac:spMkLst>
            <pc:docMk/>
            <pc:sldMk cId="153927648" sldId="7082"/>
            <ac:spMk id="17" creationId="{6D1C49AD-0E6A-4AF1-A49B-FA2DAFD12F58}"/>
          </ac:spMkLst>
        </pc:spChg>
        <pc:spChg chg="add del mod ord">
          <ac:chgData name="Liu, Changsheng A." userId="877438ce-3489-4027-b8c0-4bd167ef53d0" providerId="ADAL" clId="{A4519760-3F05-4FF7-B9B2-83FCFB1A4164}" dt="2020-07-30T09:38:19.279" v="2998" actId="478"/>
          <ac:spMkLst>
            <pc:docMk/>
            <pc:sldMk cId="153927648" sldId="7082"/>
            <ac:spMk id="18" creationId="{CF366BFF-1E9C-419F-B988-5297FE547E76}"/>
          </ac:spMkLst>
        </pc:spChg>
        <pc:spChg chg="del">
          <ac:chgData name="Liu, Changsheng A." userId="877438ce-3489-4027-b8c0-4bd167ef53d0" providerId="ADAL" clId="{A4519760-3F05-4FF7-B9B2-83FCFB1A4164}" dt="2020-07-30T03:29:26.399" v="1401" actId="478"/>
          <ac:spMkLst>
            <pc:docMk/>
            <pc:sldMk cId="153927648" sldId="7082"/>
            <ac:spMk id="23" creationId="{CB055D03-5E0B-402C-9EE4-5CD68C7BFA2B}"/>
          </ac:spMkLst>
        </pc:spChg>
        <pc:spChg chg="del">
          <ac:chgData name="Liu, Changsheng A." userId="877438ce-3489-4027-b8c0-4bd167ef53d0" providerId="ADAL" clId="{A4519760-3F05-4FF7-B9B2-83FCFB1A4164}" dt="2020-07-30T03:29:29.509" v="1402" actId="478"/>
          <ac:spMkLst>
            <pc:docMk/>
            <pc:sldMk cId="153927648" sldId="7082"/>
            <ac:spMk id="24" creationId="{41B1751F-88A7-44FF-BE8F-7C4F64B13ED8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27" creationId="{E8FC4347-028E-4397-9127-3DDEE417E846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30" creationId="{D9F3C3E2-4DEA-49A7-9D6D-D6ADFBF441E0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36" creationId="{48125C62-4D52-4325-93FD-626E64E9CD44}"/>
          </ac:spMkLst>
        </pc:spChg>
        <pc:spChg chg="add 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40" creationId="{66ED094E-6813-40A2-B11B-72E3386C1452}"/>
          </ac:spMkLst>
        </pc:spChg>
        <pc:spChg chg="add del mod">
          <ac:chgData name="Liu, Changsheng A." userId="877438ce-3489-4027-b8c0-4bd167ef53d0" providerId="ADAL" clId="{A4519760-3F05-4FF7-B9B2-83FCFB1A4164}" dt="2020-07-30T04:02:24.818" v="2192" actId="478"/>
          <ac:spMkLst>
            <pc:docMk/>
            <pc:sldMk cId="153927648" sldId="7082"/>
            <ac:spMk id="41" creationId="{AE65B5CB-6334-4C66-874F-D3033DF7FD11}"/>
          </ac:spMkLst>
        </pc:spChg>
        <pc:spChg chg="add del mod">
          <ac:chgData name="Liu, Changsheng A." userId="877438ce-3489-4027-b8c0-4bd167ef53d0" providerId="ADAL" clId="{A4519760-3F05-4FF7-B9B2-83FCFB1A4164}" dt="2020-07-30T04:05:39.925" v="2275" actId="478"/>
          <ac:spMkLst>
            <pc:docMk/>
            <pc:sldMk cId="153927648" sldId="7082"/>
            <ac:spMk id="42" creationId="{D98EF251-8552-4637-89A2-33C393D8E63B}"/>
          </ac:spMkLst>
        </pc:spChg>
        <pc:spChg chg="add del mod">
          <ac:chgData name="Liu, Changsheng A." userId="877438ce-3489-4027-b8c0-4bd167ef53d0" providerId="ADAL" clId="{A4519760-3F05-4FF7-B9B2-83FCFB1A4164}" dt="2020-07-30T04:05:21.651" v="2271" actId="478"/>
          <ac:spMkLst>
            <pc:docMk/>
            <pc:sldMk cId="153927648" sldId="7082"/>
            <ac:spMk id="43" creationId="{18A44D0F-EB98-45C3-BC8E-6296C37F347A}"/>
          </ac:spMkLst>
        </pc:spChg>
        <pc:spChg chg="mod">
          <ac:chgData name="Liu, Changsheng A." userId="877438ce-3489-4027-b8c0-4bd167ef53d0" providerId="ADAL" clId="{A4519760-3F05-4FF7-B9B2-83FCFB1A4164}" dt="2020-07-30T09:14:01.013" v="2979"/>
          <ac:spMkLst>
            <pc:docMk/>
            <pc:sldMk cId="153927648" sldId="7082"/>
            <ac:spMk id="49" creationId="{6199A162-943C-47BB-B141-8E72E43D99C9}"/>
          </ac:spMkLst>
        </pc:spChg>
        <pc:spChg chg="add mod">
          <ac:chgData name="Liu, Changsheng A." userId="877438ce-3489-4027-b8c0-4bd167ef53d0" providerId="ADAL" clId="{A4519760-3F05-4FF7-B9B2-83FCFB1A4164}" dt="2020-07-30T09:51:29.483" v="3446"/>
          <ac:spMkLst>
            <pc:docMk/>
            <pc:sldMk cId="153927648" sldId="7082"/>
            <ac:spMk id="54" creationId="{F7620442-E6B9-4A46-8CA5-906707974AE1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57" creationId="{B3D19F72-7561-40EF-8EC8-7BF46D9224E5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68" creationId="{6BC52E9C-436C-4C8F-B336-CE9C791AB140}"/>
          </ac:spMkLst>
        </pc:spChg>
        <pc:spChg chg="add mod">
          <ac:chgData name="Liu, Changsheng A." userId="877438ce-3489-4027-b8c0-4bd167ef53d0" providerId="ADAL" clId="{A4519760-3F05-4FF7-B9B2-83FCFB1A4164}" dt="2020-07-30T09:47:44.038" v="3293"/>
          <ac:spMkLst>
            <pc:docMk/>
            <pc:sldMk cId="153927648" sldId="7082"/>
            <ac:spMk id="70" creationId="{11605218-BE67-4E60-9B68-713E2A3F5C13}"/>
          </ac:spMkLst>
        </pc:spChg>
        <pc:spChg chg="add mod or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74" creationId="{75BA3FA6-EAFD-46EC-817A-728850B9ED27}"/>
          </ac:spMkLst>
        </pc:spChg>
        <pc:spChg chg="mod">
          <ac:chgData name="Liu, Changsheng A." userId="877438ce-3489-4027-b8c0-4bd167ef53d0" providerId="ADAL" clId="{A4519760-3F05-4FF7-B9B2-83FCFB1A4164}" dt="2020-07-30T09:49:21.482" v="3349"/>
          <ac:spMkLst>
            <pc:docMk/>
            <pc:sldMk cId="153927648" sldId="7082"/>
            <ac:spMk id="77" creationId="{AAA69CDD-4B08-4D42-9FFC-378407CF1F8A}"/>
          </ac:spMkLst>
        </pc:spChg>
        <pc:spChg chg="add mod">
          <ac:chgData name="Liu, Changsheng A." userId="877438ce-3489-4027-b8c0-4bd167ef53d0" providerId="ADAL" clId="{A4519760-3F05-4FF7-B9B2-83FCFB1A4164}" dt="2020-07-30T09:44:15.441" v="3204" actId="20578"/>
          <ac:spMkLst>
            <pc:docMk/>
            <pc:sldMk cId="153927648" sldId="7082"/>
            <ac:spMk id="92" creationId="{9185A647-55E5-4AFC-82C0-4527E342885C}"/>
          </ac:spMkLst>
        </pc:spChg>
        <pc:spChg chg="del topLvl">
          <ac:chgData name="Liu, Changsheng A." userId="877438ce-3489-4027-b8c0-4bd167ef53d0" providerId="ADAL" clId="{A4519760-3F05-4FF7-B9B2-83FCFB1A4164}" dt="2020-07-30T09:39:10.151" v="3006" actId="478"/>
          <ac:spMkLst>
            <pc:docMk/>
            <pc:sldMk cId="153927648" sldId="7082"/>
            <ac:spMk id="95" creationId="{DC617A62-055B-47BC-8785-DC009814DF14}"/>
          </ac:spMkLst>
        </pc:spChg>
        <pc:spChg chg="del topLvl">
          <ac:chgData name="Liu, Changsheng A." userId="877438ce-3489-4027-b8c0-4bd167ef53d0" providerId="ADAL" clId="{A4519760-3F05-4FF7-B9B2-83FCFB1A4164}" dt="2020-07-30T09:39:08.190" v="3005" actId="478"/>
          <ac:spMkLst>
            <pc:docMk/>
            <pc:sldMk cId="153927648" sldId="7082"/>
            <ac:spMk id="96" creationId="{ACA23B1A-EDA2-4713-BA9D-D81249EB315C}"/>
          </ac:spMkLst>
        </pc:spChg>
        <pc:spChg chg="add mod">
          <ac:chgData name="Liu, Changsheng A." userId="877438ce-3489-4027-b8c0-4bd167ef53d0" providerId="ADAL" clId="{A4519760-3F05-4FF7-B9B2-83FCFB1A4164}" dt="2020-07-30T09:47:03.829" v="3267"/>
          <ac:spMkLst>
            <pc:docMk/>
            <pc:sldMk cId="153927648" sldId="7082"/>
            <ac:spMk id="97" creationId="{572E54AD-8B09-4751-B94C-6611B539910D}"/>
          </ac:spMkLst>
        </pc:spChg>
        <pc:spChg chg="mod">
          <ac:chgData name="Liu, Changsheng A." userId="877438ce-3489-4027-b8c0-4bd167ef53d0" providerId="ADAL" clId="{A4519760-3F05-4FF7-B9B2-83FCFB1A4164}" dt="2020-07-30T09:48:17.221" v="3325" actId="20577"/>
          <ac:spMkLst>
            <pc:docMk/>
            <pc:sldMk cId="153927648" sldId="7082"/>
            <ac:spMk id="102" creationId="{7A2DB5FC-4341-4611-8DE0-205B944C6755}"/>
          </ac:spMkLst>
        </pc:spChg>
        <pc:spChg chg="mod">
          <ac:chgData name="Liu, Changsheng A." userId="877438ce-3489-4027-b8c0-4bd167ef53d0" providerId="ADAL" clId="{A4519760-3F05-4FF7-B9B2-83FCFB1A4164}" dt="2020-07-30T09:50:11.757" v="3408"/>
          <ac:spMkLst>
            <pc:docMk/>
            <pc:sldMk cId="153927648" sldId="7082"/>
            <ac:spMk id="107" creationId="{996345F7-B3E5-4EF5-81DF-F6447EC7B442}"/>
          </ac:spMkLst>
        </pc:spChg>
        <pc:grpChg chg="add del mod">
          <ac:chgData name="Liu, Changsheng A." userId="877438ce-3489-4027-b8c0-4bd167ef53d0" providerId="ADAL" clId="{A4519760-3F05-4FF7-B9B2-83FCFB1A4164}" dt="2020-07-30T05:12:56.997" v="2487" actId="1076"/>
          <ac:grpSpMkLst>
            <pc:docMk/>
            <pc:sldMk cId="153927648" sldId="7082"/>
            <ac:grpSpMk id="7" creationId="{C4ECEB3E-EB78-41E8-BEEC-0BF35EE0A8F6}"/>
          </ac:grpSpMkLst>
        </pc:grpChg>
        <pc:grpChg chg="add del mod">
          <ac:chgData name="Liu, Changsheng A." userId="877438ce-3489-4027-b8c0-4bd167ef53d0" providerId="ADAL" clId="{A4519760-3F05-4FF7-B9B2-83FCFB1A4164}" dt="2020-07-30T03:45:04.133" v="1578" actId="478"/>
          <ac:grpSpMkLst>
            <pc:docMk/>
            <pc:sldMk cId="153927648" sldId="7082"/>
            <ac:grpSpMk id="10" creationId="{9615151E-4CEF-4C47-BAA7-3FD27032B9FC}"/>
          </ac:grpSpMkLst>
        </pc:grpChg>
        <pc:grpChg chg="add del mod">
          <ac:chgData name="Liu, Changsheng A." userId="877438ce-3489-4027-b8c0-4bd167ef53d0" providerId="ADAL" clId="{A4519760-3F05-4FF7-B9B2-83FCFB1A4164}" dt="2020-07-30T09:38:21.658" v="2999" actId="478"/>
          <ac:grpSpMkLst>
            <pc:docMk/>
            <pc:sldMk cId="153927648" sldId="7082"/>
            <ac:grpSpMk id="25" creationId="{65D3E7CD-8C11-4D20-A836-AF2291DBB87B}"/>
          </ac:grpSpMkLst>
        </pc:grpChg>
        <pc:grpChg chg="add del mod">
          <ac:chgData name="Liu, Changsheng A." userId="877438ce-3489-4027-b8c0-4bd167ef53d0" providerId="ADAL" clId="{A4519760-3F05-4FF7-B9B2-83FCFB1A4164}" dt="2020-07-30T09:38:29.590" v="3001" actId="478"/>
          <ac:grpSpMkLst>
            <pc:docMk/>
            <pc:sldMk cId="153927648" sldId="7082"/>
            <ac:grpSpMk id="28" creationId="{DC434444-D5C5-45D7-90DC-A0DD809328DE}"/>
          </ac:grpSpMkLst>
        </pc:grpChg>
        <pc:grpChg chg="add mod ord">
          <ac:chgData name="Liu, Changsheng A." userId="877438ce-3489-4027-b8c0-4bd167ef53d0" providerId="ADAL" clId="{A4519760-3F05-4FF7-B9B2-83FCFB1A4164}" dt="2020-07-30T09:49:09.052" v="3332" actId="1076"/>
          <ac:grpSpMkLst>
            <pc:docMk/>
            <pc:sldMk cId="153927648" sldId="7082"/>
            <ac:grpSpMk id="34" creationId="{F94DE8CD-8F4C-4FFD-9111-94BAC3FCC02E}"/>
          </ac:grpSpMkLst>
        </pc:grpChg>
        <pc:grpChg chg="add mod">
          <ac:chgData name="Liu, Changsheng A." userId="877438ce-3489-4027-b8c0-4bd167ef53d0" providerId="ADAL" clId="{A4519760-3F05-4FF7-B9B2-83FCFB1A4164}" dt="2020-07-30T09:10:43.503" v="2774" actId="1076"/>
          <ac:grpSpMkLst>
            <pc:docMk/>
            <pc:sldMk cId="153927648" sldId="7082"/>
            <ac:grpSpMk id="47" creationId="{3202C938-9499-4037-9429-4F5E4FCA78B1}"/>
          </ac:grpSpMkLst>
        </pc:grpChg>
        <pc:grpChg chg="add del mod">
          <ac:chgData name="Liu, Changsheng A." userId="877438ce-3489-4027-b8c0-4bd167ef53d0" providerId="ADAL" clId="{A4519760-3F05-4FF7-B9B2-83FCFB1A4164}" dt="2020-07-30T09:46:01.053" v="3207" actId="478"/>
          <ac:grpSpMkLst>
            <pc:docMk/>
            <pc:sldMk cId="153927648" sldId="7082"/>
            <ac:grpSpMk id="55" creationId="{E62A252F-F131-4E6B-B08B-3AFF0C2A5E5D}"/>
          </ac:grpSpMkLst>
        </pc:grpChg>
        <pc:grpChg chg="add del mod">
          <ac:chgData name="Liu, Changsheng A." userId="877438ce-3489-4027-b8c0-4bd167ef53d0" providerId="ADAL" clId="{A4519760-3F05-4FF7-B9B2-83FCFB1A4164}" dt="2020-07-30T09:45:58.675" v="3206" actId="478"/>
          <ac:grpSpMkLst>
            <pc:docMk/>
            <pc:sldMk cId="153927648" sldId="7082"/>
            <ac:grpSpMk id="66" creationId="{49CC8809-53CF-44F5-B2F1-E8BC8656A3F4}"/>
          </ac:grpSpMkLst>
        </pc:grpChg>
        <pc:grpChg chg="add mod">
          <ac:chgData name="Liu, Changsheng A." userId="877438ce-3489-4027-b8c0-4bd167ef53d0" providerId="ADAL" clId="{A4519760-3F05-4FF7-B9B2-83FCFB1A4164}" dt="2020-07-30T09:49:00.321" v="3328" actId="1076"/>
          <ac:grpSpMkLst>
            <pc:docMk/>
            <pc:sldMk cId="153927648" sldId="7082"/>
            <ac:grpSpMk id="75" creationId="{4A02E248-8080-46BD-AB68-4EC3CF207EC6}"/>
          </ac:grpSpMkLst>
        </pc:grpChg>
        <pc:grpChg chg="add del mod">
          <ac:chgData name="Liu, Changsheng A." userId="877438ce-3489-4027-b8c0-4bd167ef53d0" providerId="ADAL" clId="{A4519760-3F05-4FF7-B9B2-83FCFB1A4164}" dt="2020-07-30T05:10:59.303" v="2467" actId="478"/>
          <ac:grpSpMkLst>
            <pc:docMk/>
            <pc:sldMk cId="153927648" sldId="7082"/>
            <ac:grpSpMk id="82" creationId="{25A4B672-C06C-4D90-AB0A-CE2E08AFE7C1}"/>
          </ac:grpSpMkLst>
        </pc:grpChg>
        <pc:grpChg chg="add del mod">
          <ac:chgData name="Liu, Changsheng A." userId="877438ce-3489-4027-b8c0-4bd167ef53d0" providerId="ADAL" clId="{A4519760-3F05-4FF7-B9B2-83FCFB1A4164}" dt="2020-07-30T09:39:08.190" v="3005" actId="478"/>
          <ac:grpSpMkLst>
            <pc:docMk/>
            <pc:sldMk cId="153927648" sldId="7082"/>
            <ac:grpSpMk id="94" creationId="{C8E8FD43-E4CC-4C77-A843-C253A595EA2C}"/>
          </ac:grpSpMkLst>
        </pc:grpChg>
        <pc:grpChg chg="add del mod">
          <ac:chgData name="Liu, Changsheng A." userId="877438ce-3489-4027-b8c0-4bd167ef53d0" providerId="ADAL" clId="{A4519760-3F05-4FF7-B9B2-83FCFB1A4164}" dt="2020-07-30T09:48:19.878" v="3326" actId="478"/>
          <ac:grpSpMkLst>
            <pc:docMk/>
            <pc:sldMk cId="153927648" sldId="7082"/>
            <ac:grpSpMk id="100" creationId="{A6AB9F94-8EB5-4B7E-BB7F-403A3429EF41}"/>
          </ac:grpSpMkLst>
        </pc:grpChg>
        <pc:grpChg chg="add mod">
          <ac:chgData name="Liu, Changsheng A." userId="877438ce-3489-4027-b8c0-4bd167ef53d0" providerId="ADAL" clId="{A4519760-3F05-4FF7-B9B2-83FCFB1A4164}" dt="2020-07-30T09:49:42.950" v="3350" actId="571"/>
          <ac:grpSpMkLst>
            <pc:docMk/>
            <pc:sldMk cId="153927648" sldId="7082"/>
            <ac:grpSpMk id="105" creationId="{0BBDB3A9-CCFB-45B6-887E-0BCFFB35F5FF}"/>
          </ac:grpSpMkLst>
        </pc:grpChg>
        <pc:graphicFrameChg chg="del">
          <ac:chgData name="Liu, Changsheng A." userId="877438ce-3489-4027-b8c0-4bd167ef53d0" providerId="ADAL" clId="{A4519760-3F05-4FF7-B9B2-83FCFB1A4164}" dt="2020-07-30T03:29:29.509" v="1402" actId="478"/>
          <ac:graphicFrameMkLst>
            <pc:docMk/>
            <pc:sldMk cId="153927648" sldId="7082"/>
            <ac:graphicFrameMk id="3" creationId="{D41FE0B8-1A4A-41F7-8E33-672D79355672}"/>
          </ac:graphicFrameMkLst>
        </pc:graphicFrameChg>
        <pc:graphicFrameChg chg="add del mod">
          <ac:chgData name="Liu, Changsheng A." userId="877438ce-3489-4027-b8c0-4bd167ef53d0" providerId="ADAL" clId="{A4519760-3F05-4FF7-B9B2-83FCFB1A4164}" dt="2020-07-30T03:39:38.110" v="1418" actId="478"/>
          <ac:graphicFrameMkLst>
            <pc:docMk/>
            <pc:sldMk cId="153927648" sldId="7082"/>
            <ac:graphicFrameMk id="6" creationId="{38B70917-56D0-4962-BD09-DAFEFF31BBEF}"/>
          </ac:graphicFrameMkLst>
        </pc:graphicFrameChg>
        <pc:cxnChg chg="add del mod">
          <ac:chgData name="Liu, Changsheng A." userId="877438ce-3489-4027-b8c0-4bd167ef53d0" providerId="ADAL" clId="{A4519760-3F05-4FF7-B9B2-83FCFB1A4164}" dt="2020-07-30T04:13:49.003" v="2395" actId="478"/>
          <ac:cxnSpMkLst>
            <pc:docMk/>
            <pc:sldMk cId="153927648" sldId="7082"/>
            <ac:cxnSpMk id="13" creationId="{56D63F08-5943-47C0-A77D-F0572E328501}"/>
          </ac:cxnSpMkLst>
        </pc:cxnChg>
        <pc:cxnChg chg="add del mod">
          <ac:chgData name="Liu, Changsheng A." userId="877438ce-3489-4027-b8c0-4bd167ef53d0" providerId="ADAL" clId="{A4519760-3F05-4FF7-B9B2-83FCFB1A4164}" dt="2020-07-30T05:13:02.398" v="2488" actId="478"/>
          <ac:cxnSpMkLst>
            <pc:docMk/>
            <pc:sldMk cId="153927648" sldId="7082"/>
            <ac:cxnSpMk id="19" creationId="{CA02F306-998C-470B-869E-C05E8731B0EC}"/>
          </ac:cxnSpMkLst>
        </pc:cxnChg>
        <pc:cxnChg chg="add mod">
          <ac:chgData name="Liu, Changsheng A." userId="877438ce-3489-4027-b8c0-4bd167ef53d0" providerId="ADAL" clId="{A4519760-3F05-4FF7-B9B2-83FCFB1A4164}" dt="2020-07-30T09:49:00.321" v="3328" actId="1076"/>
          <ac:cxnSpMkLst>
            <pc:docMk/>
            <pc:sldMk cId="153927648" sldId="7082"/>
            <ac:cxnSpMk id="22" creationId="{BC8EBC09-B995-49C9-A2E3-5334194F9E51}"/>
          </ac:cxnSpMkLst>
        </pc:cxnChg>
        <pc:cxnChg chg="add del mod">
          <ac:chgData name="Liu, Changsheng A." userId="877438ce-3489-4027-b8c0-4bd167ef53d0" providerId="ADAL" clId="{A4519760-3F05-4FF7-B9B2-83FCFB1A4164}" dt="2020-07-30T09:38:26.759" v="3000" actId="478"/>
          <ac:cxnSpMkLst>
            <pc:docMk/>
            <pc:sldMk cId="153927648" sldId="7082"/>
            <ac:cxnSpMk id="31" creationId="{4F0211F0-6D55-47DE-8D9B-678F07847FDF}"/>
          </ac:cxnSpMkLst>
        </pc:cxnChg>
        <pc:cxnChg chg="add del mod">
          <ac:chgData name="Liu, Changsheng A." userId="877438ce-3489-4027-b8c0-4bd167ef53d0" providerId="ADAL" clId="{A4519760-3F05-4FF7-B9B2-83FCFB1A4164}" dt="2020-07-30T04:01:08.886" v="2109" actId="478"/>
          <ac:cxnSpMkLst>
            <pc:docMk/>
            <pc:sldMk cId="153927648" sldId="7082"/>
            <ac:cxnSpMk id="37" creationId="{84C0DADD-5629-4502-936D-65149A05A242}"/>
          </ac:cxnSpMkLst>
        </pc:cxnChg>
        <pc:cxnChg chg="add mod">
          <ac:chgData name="Liu, Changsheng A." userId="877438ce-3489-4027-b8c0-4bd167ef53d0" providerId="ADAL" clId="{A4519760-3F05-4FF7-B9B2-83FCFB1A4164}" dt="2020-07-30T09:11:05.742" v="2776" actId="14100"/>
          <ac:cxnSpMkLst>
            <pc:docMk/>
            <pc:sldMk cId="153927648" sldId="7082"/>
            <ac:cxnSpMk id="44" creationId="{A7B9C419-7896-4BD8-983C-830101A14A96}"/>
          </ac:cxnSpMkLst>
        </pc:cxnChg>
        <pc:cxnChg chg="add del mod">
          <ac:chgData name="Liu, Changsheng A." userId="877438ce-3489-4027-b8c0-4bd167ef53d0" providerId="ADAL" clId="{A4519760-3F05-4FF7-B9B2-83FCFB1A4164}" dt="2020-07-30T09:11:25.767" v="2779" actId="14100"/>
          <ac:cxnSpMkLst>
            <pc:docMk/>
            <pc:sldMk cId="153927648" sldId="7082"/>
            <ac:cxnSpMk id="45" creationId="{B6B7C9C2-93C3-4F74-8566-3E68C25EEC45}"/>
          </ac:cxnSpMkLst>
        </pc:cxnChg>
        <pc:cxnChg chg="add mod">
          <ac:chgData name="Liu, Changsheng A." userId="877438ce-3489-4027-b8c0-4bd167ef53d0" providerId="ADAL" clId="{A4519760-3F05-4FF7-B9B2-83FCFB1A4164}" dt="2020-07-30T09:11:35.860" v="2780" actId="14100"/>
          <ac:cxnSpMkLst>
            <pc:docMk/>
            <pc:sldMk cId="153927648" sldId="7082"/>
            <ac:cxnSpMk id="46" creationId="{AB55311C-3F11-4069-A7E1-7D1AC529AAEA}"/>
          </ac:cxnSpMkLst>
        </pc:cxnChg>
        <pc:cxnChg chg="add mod">
          <ac:chgData name="Liu, Changsheng A." userId="877438ce-3489-4027-b8c0-4bd167ef53d0" providerId="ADAL" clId="{A4519760-3F05-4FF7-B9B2-83FCFB1A4164}" dt="2020-07-30T09:49:09.052" v="3332" actId="1076"/>
          <ac:cxnSpMkLst>
            <pc:docMk/>
            <pc:sldMk cId="153927648" sldId="7082"/>
            <ac:cxnSpMk id="50" creationId="{1838774B-660D-42E9-8FA6-CA9923C7F1D4}"/>
          </ac:cxnSpMkLst>
        </pc:cxnChg>
        <pc:cxnChg chg="add mod">
          <ac:chgData name="Liu, Changsheng A." userId="877438ce-3489-4027-b8c0-4bd167ef53d0" providerId="ADAL" clId="{A4519760-3F05-4FF7-B9B2-83FCFB1A4164}" dt="2020-07-30T09:11:18.488" v="2778" actId="14100"/>
          <ac:cxnSpMkLst>
            <pc:docMk/>
            <pc:sldMk cId="153927648" sldId="7082"/>
            <ac:cxnSpMk id="53" creationId="{0C5A61AE-41CB-4E95-B29C-2E1BCC21FB81}"/>
          </ac:cxnSpMkLst>
        </pc:cxnChg>
        <pc:cxnChg chg="add del mod">
          <ac:chgData name="Liu, Changsheng A." userId="877438ce-3489-4027-b8c0-4bd167ef53d0" providerId="ADAL" clId="{A4519760-3F05-4FF7-B9B2-83FCFB1A4164}" dt="2020-07-30T09:46:02.980" v="3208" actId="478"/>
          <ac:cxnSpMkLst>
            <pc:docMk/>
            <pc:sldMk cId="153927648" sldId="7082"/>
            <ac:cxnSpMk id="59" creationId="{F87BE720-06BA-4C9D-8BBF-C45C96FABBCA}"/>
          </ac:cxnSpMkLst>
        </pc:cxnChg>
        <pc:cxnChg chg="add del mod">
          <ac:chgData name="Liu, Changsheng A." userId="877438ce-3489-4027-b8c0-4bd167ef53d0" providerId="ADAL" clId="{A4519760-3F05-4FF7-B9B2-83FCFB1A4164}" dt="2020-07-30T09:38:31.376" v="3002" actId="478"/>
          <ac:cxnSpMkLst>
            <pc:docMk/>
            <pc:sldMk cId="153927648" sldId="7082"/>
            <ac:cxnSpMk id="63" creationId="{C032BAD8-C760-44E0-A2D3-BFDD884361A0}"/>
          </ac:cxnSpMkLst>
        </pc:cxnChg>
        <pc:cxnChg chg="add del mod">
          <ac:chgData name="Liu, Changsheng A." userId="877438ce-3489-4027-b8c0-4bd167ef53d0" providerId="ADAL" clId="{A4519760-3F05-4FF7-B9B2-83FCFB1A4164}" dt="2020-07-30T09:46:08.455" v="3210" actId="478"/>
          <ac:cxnSpMkLst>
            <pc:docMk/>
            <pc:sldMk cId="153927648" sldId="7082"/>
            <ac:cxnSpMk id="71" creationId="{EE22791E-21BE-42D0-9B20-1B089FB05342}"/>
          </ac:cxnSpMkLst>
        </pc:cxnChg>
        <pc:cxnChg chg="add mod">
          <ac:chgData name="Liu, Changsheng A." userId="877438ce-3489-4027-b8c0-4bd167ef53d0" providerId="ADAL" clId="{A4519760-3F05-4FF7-B9B2-83FCFB1A4164}" dt="2020-07-30T09:49:47.022" v="3351" actId="14100"/>
          <ac:cxnSpMkLst>
            <pc:docMk/>
            <pc:sldMk cId="153927648" sldId="7082"/>
            <ac:cxnSpMk id="79" creationId="{0D06C858-E720-48AB-9B32-8D5E09F974F8}"/>
          </ac:cxnSpMkLst>
        </pc:cxnChg>
        <pc:cxnChg chg="add mod">
          <ac:chgData name="Liu, Changsheng A." userId="877438ce-3489-4027-b8c0-4bd167ef53d0" providerId="ADAL" clId="{A4519760-3F05-4FF7-B9B2-83FCFB1A4164}" dt="2020-07-30T09:11:11.435" v="2777" actId="14100"/>
          <ac:cxnSpMkLst>
            <pc:docMk/>
            <pc:sldMk cId="153927648" sldId="7082"/>
            <ac:cxnSpMk id="85" creationId="{F94B74B6-968B-4259-AA3F-0777E1721D31}"/>
          </ac:cxnSpMkLst>
        </pc:cxnChg>
        <pc:cxnChg chg="add mod">
          <ac:chgData name="Liu, Changsheng A." userId="877438ce-3489-4027-b8c0-4bd167ef53d0" providerId="ADAL" clId="{A4519760-3F05-4FF7-B9B2-83FCFB1A4164}" dt="2020-07-30T09:49:53.141" v="3354" actId="14100"/>
          <ac:cxnSpMkLst>
            <pc:docMk/>
            <pc:sldMk cId="153927648" sldId="7082"/>
            <ac:cxnSpMk id="109" creationId="{18ACEF8F-DCC9-4E79-860C-E3CB37DD01E0}"/>
          </ac:cxnSpMkLst>
        </pc:cxnChg>
      </pc:sldChg>
      <pc:sldChg chg="add del">
        <pc:chgData name="Liu, Changsheng A." userId="877438ce-3489-4027-b8c0-4bd167ef53d0" providerId="ADAL" clId="{A4519760-3F05-4FF7-B9B2-83FCFB1A4164}" dt="2020-07-30T03:38:22.046" v="1404"/>
        <pc:sldMkLst>
          <pc:docMk/>
          <pc:sldMk cId="3039377972" sldId="7083"/>
        </pc:sldMkLst>
      </pc:sldChg>
    </pc:docChg>
  </pc:docChgLst>
  <pc:docChgLst>
    <pc:chgData name="Liu, Changsheng A." userId="877438ce-3489-4027-b8c0-4bd167ef53d0" providerId="ADAL" clId="{828D5525-A08A-4524-9291-38731CC1333D}"/>
    <pc:docChg chg="modSld">
      <pc:chgData name="Liu, Changsheng A." userId="877438ce-3489-4027-b8c0-4bd167ef53d0" providerId="ADAL" clId="{828D5525-A08A-4524-9291-38731CC1333D}" dt="2020-07-29T09:33:08.491" v="159" actId="1036"/>
      <pc:docMkLst>
        <pc:docMk/>
      </pc:docMkLst>
      <pc:sldChg chg="modSp">
        <pc:chgData name="Liu, Changsheng A." userId="877438ce-3489-4027-b8c0-4bd167ef53d0" providerId="ADAL" clId="{828D5525-A08A-4524-9291-38731CC1333D}" dt="2020-07-29T09:33:08.491" v="159" actId="1036"/>
        <pc:sldMkLst>
          <pc:docMk/>
          <pc:sldMk cId="1963802781" sldId="7077"/>
        </pc:sldMkLst>
        <pc:spChg chg="mod">
          <ac:chgData name="Liu, Changsheng A." userId="877438ce-3489-4027-b8c0-4bd167ef53d0" providerId="ADAL" clId="{828D5525-A08A-4524-9291-38731CC1333D}" dt="2020-07-29T09:33:08.491" v="159" actId="1036"/>
          <ac:spMkLst>
            <pc:docMk/>
            <pc:sldMk cId="1963802781" sldId="7077"/>
            <ac:spMk id="4" creationId="{A3F46D79-1009-4BAA-B7F4-C9FF9DD753D5}"/>
          </ac:spMkLst>
        </pc:spChg>
      </pc:sldChg>
    </pc:docChg>
  </pc:docChgLst>
  <pc:docChgLst>
    <pc:chgData name="Liu, Changsheng A." userId="877438ce-3489-4027-b8c0-4bd167ef53d0" providerId="ADAL" clId="{35AB68C3-AADD-4C6C-B90D-EE9085003035}"/>
    <pc:docChg chg="undo custSel addSld modSld sldOrd">
      <pc:chgData name="Liu, Changsheng A." userId="877438ce-3489-4027-b8c0-4bd167ef53d0" providerId="ADAL" clId="{35AB68C3-AADD-4C6C-B90D-EE9085003035}" dt="2020-06-01T11:54:34.824" v="1781" actId="1076"/>
      <pc:docMkLst>
        <pc:docMk/>
      </pc:docMkLst>
      <pc:sldChg chg="addSp delSp modSp ord modTransition">
        <pc:chgData name="Liu, Changsheng A." userId="877438ce-3489-4027-b8c0-4bd167ef53d0" providerId="ADAL" clId="{35AB68C3-AADD-4C6C-B90D-EE9085003035}" dt="2020-06-01T05:41:20.256" v="1024"/>
        <pc:sldMkLst>
          <pc:docMk/>
          <pc:sldMk cId="3624803210" sldId="7065"/>
        </pc:sldMkLst>
        <pc:spChg chg="mod">
          <ac:chgData name="Liu, Changsheng A." userId="877438ce-3489-4027-b8c0-4bd167ef53d0" providerId="ADAL" clId="{35AB68C3-AADD-4C6C-B90D-EE9085003035}" dt="2020-06-01T03:30:17.437" v="8"/>
          <ac:spMkLst>
            <pc:docMk/>
            <pc:sldMk cId="3624803210" sldId="7065"/>
            <ac:spMk id="2" creationId="{181887AC-1E0B-4269-89DB-CE4A0D5F5100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5" creationId="{67C02E1B-776D-443E-96EC-670F47554370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6" creationId="{5D49D21E-1937-4C58-8EB0-EA9E06C18B81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7" creationId="{9AAB083C-6F81-430F-9A9B-229C0DFC61F3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8" creationId="{4B2183C8-14BE-47E3-8038-601F1EA75486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9" creationId="{95CDEDF4-81CB-4EFC-B4B8-ED8C7D8E6D98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0" creationId="{DF869208-FC7D-4D38-A597-36583D18D852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1" creationId="{36ED4045-9D0D-40C9-9BE6-E52E843ACB4B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2" creationId="{D99188AC-99B5-436F-B0EB-3F1EA201FD29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4" creationId="{0DD24972-D6B9-4F2D-836A-177322D2B74F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6" creationId="{039186A4-8901-4498-A3ED-D75034C7CE6F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7" creationId="{B946F402-1E80-45B3-8934-96BA34B51F65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8" creationId="{143A9E40-AD01-472D-A770-B2B8175748FB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9" creationId="{3D5F391C-2485-4310-9425-3DFACE909772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0" creationId="{5DBB7662-C21C-46DE-8B26-C60C57BB5B46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1" creationId="{FB471F62-91BE-4CF0-9AAD-874D28A42646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2" creationId="{C08FB6A6-3A8E-4100-9422-364F1AA66C23}"/>
          </ac:spMkLst>
        </pc:spChg>
        <pc:spChg chg="del">
          <ac:chgData name="Liu, Changsheng A." userId="877438ce-3489-4027-b8c0-4bd167ef53d0" providerId="ADAL" clId="{35AB68C3-AADD-4C6C-B90D-EE9085003035}" dt="2020-06-01T03:30:30.166" v="10" actId="478"/>
          <ac:spMkLst>
            <pc:docMk/>
            <pc:sldMk cId="3624803210" sldId="7065"/>
            <ac:spMk id="23" creationId="{9296144F-283D-4B75-9511-A1160AC492F8}"/>
          </ac:spMkLst>
        </pc:spChg>
        <pc:spChg chg="add mod">
          <ac:chgData name="Liu, Changsheng A." userId="877438ce-3489-4027-b8c0-4bd167ef53d0" providerId="ADAL" clId="{35AB68C3-AADD-4C6C-B90D-EE9085003035}" dt="2020-06-01T03:59:11.903" v="281" actId="1076"/>
          <ac:spMkLst>
            <pc:docMk/>
            <pc:sldMk cId="3624803210" sldId="7065"/>
            <ac:spMk id="24" creationId="{1427C411-8467-4EC1-AFF2-82A3435FA2B7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5" creationId="{76FFCA00-4311-4E40-8F22-3D87210FECF6}"/>
          </ac:spMkLst>
        </pc:spChg>
        <pc:spChg chg="add del">
          <ac:chgData name="Liu, Changsheng A." userId="877438ce-3489-4027-b8c0-4bd167ef53d0" providerId="ADAL" clId="{35AB68C3-AADD-4C6C-B90D-EE9085003035}" dt="2020-06-01T03:40:36.327" v="75" actId="478"/>
          <ac:spMkLst>
            <pc:docMk/>
            <pc:sldMk cId="3624803210" sldId="7065"/>
            <ac:spMk id="26" creationId="{6FC74805-22EA-49C0-BADA-2B84A7EFC3D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27" creationId="{11738D7A-04CC-4EF5-85EA-BDE095A887F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28" creationId="{647402D2-B8CB-46CB-8230-49DE19402AF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29" creationId="{8E9C722A-B2BA-42B5-9B86-8CA59B70060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0" creationId="{8BCFEBA6-0EAC-473F-9E61-61E0E7D7E676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1" creationId="{832A4CF6-9CE5-4438-BA5C-AFD082F0C2F4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2" creationId="{71B31A1F-918C-43A4-AA7E-AFC6E6F24BD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3" creationId="{EB5F6BFC-515D-409D-98C7-AE8F56A40405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4" creationId="{55E82AD3-D03E-478C-9A5F-F93F75E34F59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5" creationId="{324ECC88-9E99-46EA-B9E6-8E27507BD242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6" creationId="{55AEC59F-A253-42D6-BAB5-62B1A8024B6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7" creationId="{5768E9E1-7A19-4265-98EA-F4D06E010D8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8" creationId="{121D65B4-E10C-4D60-B212-2C942968F72F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9" creationId="{474E7E2E-C6D5-4FD4-A259-15836834AABA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0" creationId="{EDBD5573-79E8-4AC2-A951-7D96D0C67F86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1" creationId="{87D99611-DBFC-4621-B18D-892888142EC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2" creationId="{3E15D2F8-9DB0-4866-A4C8-8CD0F298F02A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3" creationId="{07029AE1-F50D-4F8F-93D2-771A724A0918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4" creationId="{8CD7A325-1339-4E4F-8A99-A2575C7BB420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5" creationId="{8EE6D591-BD01-4AF9-9B1E-CA2D8A146FAB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6" creationId="{FDF96610-225C-44FC-B78B-657ACA73AB8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7" creationId="{079577EA-BE69-4DE1-B648-AB5123CEBEB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8" creationId="{76CEF490-3071-41E9-B4AB-918ADD4A817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9" creationId="{C7AC6EAB-331F-42AF-8266-C1FF6C8666F2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0" creationId="{54AB5148-3057-4A1D-BF9B-17047A4E42D1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1" creationId="{4644D9B5-A3D9-47F4-B408-5874AC22245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2" creationId="{53990669-D6CF-4256-B0BC-62FAE4029A59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3" creationId="{ED89F336-4BEA-4C0D-8F17-74E1240A9038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4" creationId="{2867D0DC-A98D-485E-9B48-B550939BA2A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5" creationId="{20F13826-1658-42F1-904F-384B91864645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6" creationId="{E1984666-CC3C-4BAF-A1C3-5D3BEA45E35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7" creationId="{B2012D40-374F-43A6-A06B-6ED394DFA93F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8" creationId="{36C34AC6-6463-4DF4-B0F3-4D381DC1A4F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9" creationId="{8EB26390-F4CC-43F7-BC11-B9999A07DDA0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0" creationId="{C312CAA5-7D7C-474A-9701-6EF0914A6244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1" creationId="{BAF5D4EC-7B74-4F1E-B6CF-6B2EB899A7DE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2" creationId="{E1E7A93B-6099-40C5-9663-CACA3885B39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6" creationId="{32128900-A13D-4FA0-9EF3-1CE6C9EA1C55}"/>
          </ac:spMkLst>
        </pc:spChg>
        <pc:spChg chg="add mod">
          <ac:chgData name="Liu, Changsheng A." userId="877438ce-3489-4027-b8c0-4bd167ef53d0" providerId="ADAL" clId="{35AB68C3-AADD-4C6C-B90D-EE9085003035}" dt="2020-06-01T03:56:05.039" v="246" actId="571"/>
          <ac:spMkLst>
            <pc:docMk/>
            <pc:sldMk cId="3624803210" sldId="7065"/>
            <ac:spMk id="67" creationId="{46FE7740-4416-40FB-8BE9-591596249B3E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8" creationId="{E2760D1B-B5A1-424A-8EFB-52943AAEA436}"/>
          </ac:spMkLst>
        </pc:spChg>
        <pc:spChg chg="add mod">
          <ac:chgData name="Liu, Changsheng A." userId="877438ce-3489-4027-b8c0-4bd167ef53d0" providerId="ADAL" clId="{35AB68C3-AADD-4C6C-B90D-EE9085003035}" dt="2020-06-01T03:59:34.132" v="302"/>
          <ac:spMkLst>
            <pc:docMk/>
            <pc:sldMk cId="3624803210" sldId="7065"/>
            <ac:spMk id="69" creationId="{5C141EF5-7E35-41E5-A919-CFA9081F511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3" creationId="{C918EAA6-9C07-44DC-B5F9-5F54AD289D5F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4" creationId="{D1F19961-839A-43D0-9FD8-934DBF59A51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5" creationId="{3D367AA3-8A5B-4703-8C98-B36A6627FC27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6" creationId="{632CDAA2-F648-4C21-90FD-9B7D15758DFA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7" creationId="{52A56CA4-BDEE-4E2D-BDAB-C12EEF19D87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8" creationId="{66E78DA4-350B-42C6-8570-8B4AD41EDB7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9" creationId="{B5671556-0C6A-45EF-87FB-B0F88B95FAC7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0" creationId="{7213AE2C-9566-4E7C-8AEE-A752BADAB975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1" creationId="{29E3C2BA-59C3-4C8C-A577-14F68BEBF182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2" creationId="{2D00894F-720F-4D3B-9464-F5F7737E993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3" creationId="{A58D68DE-3B0F-40E2-942C-205EF995573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4" creationId="{A2406DB4-EC22-4584-8F6E-422D91D953B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5" creationId="{C2FFB4AE-ECEF-4F25-8FD4-25E26A11547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6" creationId="{9FCD27C7-B18C-4208-A08B-9A0E2F4005C9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7" creationId="{95C96DFC-F507-40E2-980A-BD1D399C1716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8" creationId="{C610D9EB-1277-45E9-8B63-0A6F93A2F4D9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9" creationId="{15CBC2C3-9963-430E-A4F3-AEFBD069FDF4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0" creationId="{85C4D1C7-71E6-4458-9F8C-5A46B68FBCE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1" creationId="{E9698AC7-C2D2-4CF6-B338-2A6BD4A9D0C5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2" creationId="{474ACA4C-7E97-4885-BBE8-E8919C772130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3" creationId="{2A91439D-1490-46AE-A0E5-1C26B48D69B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4" creationId="{37841FF5-848E-4BE6-B744-02FF44D8C7B9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5" creationId="{FE396CCE-AAC0-4301-8301-833303B2454A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6" creationId="{82C90A6D-3A2A-401A-93CF-DD1D728AE27B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7" creationId="{4B38D850-F70E-4603-839A-295746F2711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8" creationId="{DB54479E-F8FA-462A-961A-16654FCBCE6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9" creationId="{40491FAE-A039-496F-A88E-AFEBE57D02EB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0" creationId="{1CBF5D12-AABF-416A-B695-631B7C7E47C4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1" creationId="{04FE3A28-9252-4C9F-967D-2D294E319BFC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2" creationId="{160E5C33-D47D-47A8-8CC0-3EF71F7F82E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3" creationId="{89C6A33B-9CCE-4BF6-92F8-223136E86BA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4" creationId="{54A573E5-6491-4E0A-B530-C587C24BD2D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5" creationId="{ED125A6F-5662-4835-97BE-45B32B26858D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6" creationId="{99D10CBF-0E1D-46C2-BA30-72539A224612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7" creationId="{E9841B50-00AF-4DFD-B750-37D87FEE0781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8" creationId="{8D621B53-54E3-4C27-938B-E9C70955B71F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0" creationId="{714FBE2E-5B11-4823-BFC9-75F56BC840B5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1" creationId="{547B5C38-A9AE-4689-BF62-BAC1F0E99A97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2" creationId="{D4EFD47A-D98A-45E4-AF91-7501C47B75AA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3" creationId="{793D7213-8B76-4FA2-B315-A319B3627314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4" creationId="{ED2AC2BB-CDC0-4E31-9902-EFBBC86428B8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5" creationId="{6CDA40B8-F4A0-4861-B72A-38E7B58A3F44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6" creationId="{894C126A-BEA1-4F11-AC55-22E9DFAB53E7}"/>
          </ac:spMkLst>
        </pc:spChg>
        <pc:spChg chg="add mod">
          <ac:chgData name="Liu, Changsheng A." userId="877438ce-3489-4027-b8c0-4bd167ef53d0" providerId="ADAL" clId="{35AB68C3-AADD-4C6C-B90D-EE9085003035}" dt="2020-06-01T04:42:12.642" v="452" actId="20577"/>
          <ac:spMkLst>
            <pc:docMk/>
            <pc:sldMk cId="3624803210" sldId="7065"/>
            <ac:spMk id="117" creationId="{C2A8819C-3381-4E57-AD93-22E41798B6EE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8" creationId="{2622495D-1E42-43C8-AC19-A5D5F65DAB62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9" creationId="{FC662C65-B179-454D-8BD0-D4BAB5FD98ED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0" creationId="{0CBF8F5D-EBFA-4DB7-AEA6-5DE9CC1952D9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1" creationId="{DAE7034C-64DD-4BC5-9C41-7E7AB97D6C68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2" creationId="{51FAE396-2C07-4CAF-A018-EF6E49A62D6B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3" creationId="{1A904466-5E80-4255-B766-D2B4011238DB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4" creationId="{A036FA98-1031-4A32-9136-DFF6CB048146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5" creationId="{9937ED0F-EE52-4C81-80B8-509FC8035FD3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6" creationId="{ED64DE50-9A2F-469D-8A57-F146B167D905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7" creationId="{ED8D19AD-27F5-44C4-B75F-E270EBD8FC55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8" creationId="{4DC4A63D-19A4-46BC-86D6-16996397011B}"/>
          </ac:spMkLst>
        </pc:spChg>
        <pc:spChg chg="add mod">
          <ac:chgData name="Liu, Changsheng A." userId="877438ce-3489-4027-b8c0-4bd167ef53d0" providerId="ADAL" clId="{35AB68C3-AADD-4C6C-B90D-EE9085003035}" dt="2020-06-01T04:42:03.623" v="449" actId="20577"/>
          <ac:spMkLst>
            <pc:docMk/>
            <pc:sldMk cId="3624803210" sldId="7065"/>
            <ac:spMk id="129" creationId="{705984BB-07A3-4E06-BBAC-BCE9E6DCBFF3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0" creationId="{B0A627FC-B90A-4686-976E-D00E4CC3AF59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1" creationId="{4F9195A5-AF64-420D-936D-EDBDF363366C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2" creationId="{09FE3130-6CBF-4B62-A986-C4EFF7FE307F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3" creationId="{6E71A595-0713-49DB-9642-30B754F15B1B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4" creationId="{5E823B8A-6520-4406-9386-871DB3039303}"/>
          </ac:spMkLst>
        </pc:spChg>
        <pc:spChg chg="add mod">
          <ac:chgData name="Liu, Changsheng A." userId="877438ce-3489-4027-b8c0-4bd167ef53d0" providerId="ADAL" clId="{35AB68C3-AADD-4C6C-B90D-EE9085003035}" dt="2020-06-01T04:42:06.032" v="450" actId="20577"/>
          <ac:spMkLst>
            <pc:docMk/>
            <pc:sldMk cId="3624803210" sldId="7065"/>
            <ac:spMk id="135" creationId="{B68DE4DB-DFE8-4FC9-B714-07D9E649F71D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6" creationId="{B459B751-DBF5-4ABE-855B-C2B2A5473FD5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7" creationId="{75379FCD-8F53-4895-B489-0E1FFC8D0118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8" creationId="{7E22C88E-D969-42F3-8E4B-D3D886E2DF0A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9" creationId="{55584928-94C2-4A79-ADFD-404D60653844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40" creationId="{20548975-1E1B-4260-9213-DC974ED71EB2}"/>
          </ac:spMkLst>
        </pc:spChg>
        <pc:spChg chg="add mod">
          <ac:chgData name="Liu, Changsheng A." userId="877438ce-3489-4027-b8c0-4bd167ef53d0" providerId="ADAL" clId="{35AB68C3-AADD-4C6C-B90D-EE9085003035}" dt="2020-06-01T04:42:07.658" v="451" actId="20577"/>
          <ac:spMkLst>
            <pc:docMk/>
            <pc:sldMk cId="3624803210" sldId="7065"/>
            <ac:spMk id="141" creationId="{4268D7DC-C166-490D-89BC-8F6E76B22BF4}"/>
          </ac:spMkLst>
        </pc:spChg>
        <pc:spChg chg="add mod">
          <ac:chgData name="Liu, Changsheng A." userId="877438ce-3489-4027-b8c0-4bd167ef53d0" providerId="ADAL" clId="{35AB68C3-AADD-4C6C-B90D-EE9085003035}" dt="2020-06-01T04:43:03.856" v="492" actId="14100"/>
          <ac:spMkLst>
            <pc:docMk/>
            <pc:sldMk cId="3624803210" sldId="7065"/>
            <ac:spMk id="143" creationId="{D027D3CF-BC74-4B21-95C0-AB24D8EA394C}"/>
          </ac:spMkLst>
        </pc:spChg>
        <pc:spChg chg="add mod">
          <ac:chgData name="Liu, Changsheng A." userId="877438ce-3489-4027-b8c0-4bd167ef53d0" providerId="ADAL" clId="{35AB68C3-AADD-4C6C-B90D-EE9085003035}" dt="2020-06-01T04:43:06.503" v="493" actId="14100"/>
          <ac:spMkLst>
            <pc:docMk/>
            <pc:sldMk cId="3624803210" sldId="7065"/>
            <ac:spMk id="144" creationId="{057AAA7E-A201-4F37-BC46-72BE9BD8B75D}"/>
          </ac:spMkLst>
        </pc:spChg>
        <pc:spChg chg="add del mod">
          <ac:chgData name="Liu, Changsheng A." userId="877438ce-3489-4027-b8c0-4bd167ef53d0" providerId="ADAL" clId="{35AB68C3-AADD-4C6C-B90D-EE9085003035}" dt="2020-06-01T04:43:21.542" v="548" actId="478"/>
          <ac:spMkLst>
            <pc:docMk/>
            <pc:sldMk cId="3624803210" sldId="7065"/>
            <ac:spMk id="145" creationId="{D8010A55-4F01-46C8-B1C4-C9BBF84F2B6F}"/>
          </ac:spMkLst>
        </pc:spChg>
        <pc:spChg chg="add del mod">
          <ac:chgData name="Liu, Changsheng A." userId="877438ce-3489-4027-b8c0-4bd167ef53d0" providerId="ADAL" clId="{35AB68C3-AADD-4C6C-B90D-EE9085003035}" dt="2020-06-01T04:43:21.542" v="548" actId="478"/>
          <ac:spMkLst>
            <pc:docMk/>
            <pc:sldMk cId="3624803210" sldId="7065"/>
            <ac:spMk id="147" creationId="{34A71683-8807-447B-B82D-9D9CB1615669}"/>
          </ac:spMkLst>
        </pc:spChg>
        <pc:spChg chg="add del mod">
          <ac:chgData name="Liu, Changsheng A." userId="877438ce-3489-4027-b8c0-4bd167ef53d0" providerId="ADAL" clId="{35AB68C3-AADD-4C6C-B90D-EE9085003035}" dt="2020-06-01T04:43:21.542" v="548" actId="478"/>
          <ac:spMkLst>
            <pc:docMk/>
            <pc:sldMk cId="3624803210" sldId="7065"/>
            <ac:spMk id="148" creationId="{06698FCD-9D0B-444B-8EF5-4F3BC9989500}"/>
          </ac:spMkLst>
        </pc:spChg>
        <pc:spChg chg="add mod">
          <ac:chgData name="Liu, Changsheng A." userId="877438ce-3489-4027-b8c0-4bd167ef53d0" providerId="ADAL" clId="{35AB68C3-AADD-4C6C-B90D-EE9085003035}" dt="2020-06-01T04:43:50.479" v="573" actId="14100"/>
          <ac:spMkLst>
            <pc:docMk/>
            <pc:sldMk cId="3624803210" sldId="7065"/>
            <ac:spMk id="149" creationId="{7AD20000-F972-4CC3-84BE-DA24CD4BD453}"/>
          </ac:spMkLst>
        </pc:spChg>
        <pc:grpChg chg="add mod">
          <ac:chgData name="Liu, Changsheng A." userId="877438ce-3489-4027-b8c0-4bd167ef53d0" providerId="ADAL" clId="{35AB68C3-AADD-4C6C-B90D-EE9085003035}" dt="2020-06-01T04:00:04.354" v="304" actId="1076"/>
          <ac:grpSpMkLst>
            <pc:docMk/>
            <pc:sldMk cId="3624803210" sldId="7065"/>
            <ac:grpSpMk id="70" creationId="{5BBA9151-CA60-480C-B47F-4D27E73879B3}"/>
          </ac:grpSpMkLst>
        </pc:grpChg>
        <pc:grpChg chg="add del mod">
          <ac:chgData name="Liu, Changsheng A." userId="877438ce-3489-4027-b8c0-4bd167ef53d0" providerId="ADAL" clId="{35AB68C3-AADD-4C6C-B90D-EE9085003035}" dt="2020-06-01T04:38:47.735" v="311" actId="165"/>
          <ac:grpSpMkLst>
            <pc:docMk/>
            <pc:sldMk cId="3624803210" sldId="7065"/>
            <ac:grpSpMk id="72" creationId="{5AB3140C-F394-4F5A-BBEC-F19616BCE2CD}"/>
          </ac:grpSpMkLst>
        </pc:grpChg>
        <pc:graphicFrameChg chg="add del mod">
          <ac:chgData name="Liu, Changsheng A." userId="877438ce-3489-4027-b8c0-4bd167ef53d0" providerId="ADAL" clId="{35AB68C3-AADD-4C6C-B90D-EE9085003035}" dt="2020-06-01T03:32:10.516" v="13" actId="478"/>
          <ac:graphicFrameMkLst>
            <pc:docMk/>
            <pc:sldMk cId="3624803210" sldId="7065"/>
            <ac:graphicFrameMk id="3" creationId="{6B5134B3-5BD1-47BE-B580-7AB7F6FB27F8}"/>
          </ac:graphicFrameMkLst>
        </pc:graphicFrameChg>
        <pc:graphicFrameChg chg="add mod modGraphic">
          <ac:chgData name="Liu, Changsheng A." userId="877438ce-3489-4027-b8c0-4bd167ef53d0" providerId="ADAL" clId="{35AB68C3-AADD-4C6C-B90D-EE9085003035}" dt="2020-06-01T04:10:50.378" v="308" actId="14100"/>
          <ac:graphicFrameMkLst>
            <pc:docMk/>
            <pc:sldMk cId="3624803210" sldId="7065"/>
            <ac:graphicFrameMk id="4" creationId="{6155957B-9638-40C1-A9BC-BE1BC7C9E984}"/>
          </ac:graphicFrameMkLst>
        </pc:graphicFrameChg>
        <pc:graphicFrameChg chg="add del mod">
          <ac:chgData name="Liu, Changsheng A." userId="877438ce-3489-4027-b8c0-4bd167ef53d0" providerId="ADAL" clId="{35AB68C3-AADD-4C6C-B90D-EE9085003035}" dt="2020-06-01T03:38:50.905" v="73" actId="478"/>
          <ac:graphicFrameMkLst>
            <pc:docMk/>
            <pc:sldMk cId="3624803210" sldId="7065"/>
            <ac:graphicFrameMk id="13" creationId="{C5FD9407-6364-45AE-A0A5-308AF89FB796}"/>
          </ac:graphicFrameMkLst>
        </pc:graphicFrameChg>
        <pc:graphicFrameChg chg="add del mod modGraphic">
          <ac:chgData name="Liu, Changsheng A." userId="877438ce-3489-4027-b8c0-4bd167ef53d0" providerId="ADAL" clId="{35AB68C3-AADD-4C6C-B90D-EE9085003035}" dt="2020-06-01T03:44:05.148" v="102" actId="478"/>
          <ac:graphicFrameMkLst>
            <pc:docMk/>
            <pc:sldMk cId="3624803210" sldId="7065"/>
            <ac:graphicFrameMk id="15" creationId="{9B41905D-4D4E-49B0-B14F-B9036AEEE888}"/>
          </ac:graphicFrameMkLst>
        </pc:graphicFrameChg>
        <pc:graphicFrameChg chg="add del">
          <ac:chgData name="Liu, Changsheng A." userId="877438ce-3489-4027-b8c0-4bd167ef53d0" providerId="ADAL" clId="{35AB68C3-AADD-4C6C-B90D-EE9085003035}" dt="2020-06-01T04:10:34.437" v="306"/>
          <ac:graphicFrameMkLst>
            <pc:docMk/>
            <pc:sldMk cId="3624803210" sldId="7065"/>
            <ac:graphicFrameMk id="71" creationId="{53886AAD-B07C-4686-9C20-3C62B9FDC2A0}"/>
          </ac:graphicFrameMkLst>
        </pc:graphicFrameChg>
        <pc:cxnChg chg="add mod">
          <ac:chgData name="Liu, Changsheng A." userId="877438ce-3489-4027-b8c0-4bd167ef53d0" providerId="ADAL" clId="{35AB68C3-AADD-4C6C-B90D-EE9085003035}" dt="2020-06-01T04:00:00.857" v="303" actId="164"/>
          <ac:cxnSpMkLst>
            <pc:docMk/>
            <pc:sldMk cId="3624803210" sldId="7065"/>
            <ac:cxnSpMk id="64" creationId="{9B801E2D-BCCB-43A2-B462-A9E7A0ECD55F}"/>
          </ac:cxnSpMkLst>
        </pc:cxnChg>
        <pc:cxnChg chg="mod topLvl">
          <ac:chgData name="Liu, Changsheng A." userId="877438ce-3489-4027-b8c0-4bd167ef53d0" providerId="ADAL" clId="{35AB68C3-AADD-4C6C-B90D-EE9085003035}" dt="2020-06-01T04:41:55.416" v="448" actId="1076"/>
          <ac:cxnSpMkLst>
            <pc:docMk/>
            <pc:sldMk cId="3624803210" sldId="7065"/>
            <ac:cxnSpMk id="109" creationId="{245FBB01-08FA-4811-9086-E7CE9FFFC97E}"/>
          </ac:cxnSpMkLst>
        </pc:cxnChg>
        <pc:cxnChg chg="add del mod">
          <ac:chgData name="Liu, Changsheng A." userId="877438ce-3489-4027-b8c0-4bd167ef53d0" providerId="ADAL" clId="{35AB68C3-AADD-4C6C-B90D-EE9085003035}" dt="2020-06-01T04:43:21.542" v="548" actId="478"/>
          <ac:cxnSpMkLst>
            <pc:docMk/>
            <pc:sldMk cId="3624803210" sldId="7065"/>
            <ac:cxnSpMk id="146" creationId="{C2306AD4-F50F-444E-9EF7-3C1EFECAD6A8}"/>
          </ac:cxnSpMkLst>
        </pc:cxnChg>
      </pc:sldChg>
      <pc:sldChg chg="add ord modTransition">
        <pc:chgData name="Liu, Changsheng A." userId="877438ce-3489-4027-b8c0-4bd167ef53d0" providerId="ADAL" clId="{35AB68C3-AADD-4C6C-B90D-EE9085003035}" dt="2020-06-01T05:44:31.546" v="1075"/>
        <pc:sldMkLst>
          <pc:docMk/>
          <pc:sldMk cId="3511397984" sldId="7071"/>
        </pc:sldMkLst>
      </pc:sldChg>
      <pc:sldChg chg="addSp delSp modSp add">
        <pc:chgData name="Liu, Changsheng A." userId="877438ce-3489-4027-b8c0-4bd167ef53d0" providerId="ADAL" clId="{35AB68C3-AADD-4C6C-B90D-EE9085003035}" dt="2020-06-01T05:48:05.710" v="1085" actId="113"/>
        <pc:sldMkLst>
          <pc:docMk/>
          <pc:sldMk cId="2729856478" sldId="7072"/>
        </pc:sldMkLst>
        <pc:spChg chg="add del mod">
          <ac:chgData name="Liu, Changsheng A." userId="877438ce-3489-4027-b8c0-4bd167ef53d0" providerId="ADAL" clId="{35AB68C3-AADD-4C6C-B90D-EE9085003035}" dt="2020-06-01T05:24:28.323" v="655" actId="478"/>
          <ac:spMkLst>
            <pc:docMk/>
            <pc:sldMk cId="2729856478" sldId="7072"/>
            <ac:spMk id="5" creationId="{C32D9D65-F9A5-4A48-A65F-9BD1E31D47B4}"/>
          </ac:spMkLst>
        </pc:spChg>
        <pc:spChg chg="add mod">
          <ac:chgData name="Liu, Changsheng A." userId="877438ce-3489-4027-b8c0-4bd167ef53d0" providerId="ADAL" clId="{35AB68C3-AADD-4C6C-B90D-EE9085003035}" dt="2020-06-01T05:42:29.002" v="1028" actId="1076"/>
          <ac:spMkLst>
            <pc:docMk/>
            <pc:sldMk cId="2729856478" sldId="7072"/>
            <ac:spMk id="10" creationId="{4D9B5909-B820-4B3C-8F02-83CB81D8980F}"/>
          </ac:spMkLst>
        </pc:spChg>
        <pc:spChg chg="mod">
          <ac:chgData name="Liu, Changsheng A." userId="877438ce-3489-4027-b8c0-4bd167ef53d0" providerId="ADAL" clId="{35AB68C3-AADD-4C6C-B90D-EE9085003035}" dt="2020-06-01T05:36:41.392" v="933" actId="1076"/>
          <ac:spMkLst>
            <pc:docMk/>
            <pc:sldMk cId="2729856478" sldId="7072"/>
            <ac:spMk id="24" creationId="{1427C411-8467-4EC1-AFF2-82A3435FA2B7}"/>
          </ac:spMkLst>
        </pc:spChg>
        <pc:spChg chg="mod">
          <ac:chgData name="Liu, Changsheng A." userId="877438ce-3489-4027-b8c0-4bd167ef53d0" providerId="ADAL" clId="{35AB68C3-AADD-4C6C-B90D-EE9085003035}" dt="2020-06-01T05:42:18.607" v="1027" actId="1076"/>
          <ac:spMkLst>
            <pc:docMk/>
            <pc:sldMk cId="2729856478" sldId="7072"/>
            <ac:spMk id="69" creationId="{5C141EF5-7E35-41E5-A919-CFA9081F511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3" creationId="{C918EAA6-9C07-44DC-B5F9-5F54AD289D5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4" creationId="{D1F19961-839A-43D0-9FD8-934DBF59A51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5" creationId="{3D367AA3-8A5B-4703-8C98-B36A6627FC2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6" creationId="{632CDAA2-F648-4C21-90FD-9B7D15758DF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7" creationId="{52A56CA4-BDEE-4E2D-BDAB-C12EEF19D87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8" creationId="{66E78DA4-350B-42C6-8570-8B4AD41EDB7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9" creationId="{B5671556-0C6A-45EF-87FB-B0F88B95FAC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0" creationId="{7213AE2C-9566-4E7C-8AEE-A752BADAB97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1" creationId="{29E3C2BA-59C3-4C8C-A577-14F68BEBF18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2" creationId="{2D00894F-720F-4D3B-9464-F5F7737E993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3" creationId="{A58D68DE-3B0F-40E2-942C-205EF995573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4" creationId="{A2406DB4-EC22-4584-8F6E-422D91D953B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5" creationId="{C2FFB4AE-ECEF-4F25-8FD4-25E26A11547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6" creationId="{9FCD27C7-B18C-4208-A08B-9A0E2F4005C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7" creationId="{95C96DFC-F507-40E2-980A-BD1D399C1716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8" creationId="{C610D9EB-1277-45E9-8B63-0A6F93A2F4D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9" creationId="{15CBC2C3-9963-430E-A4F3-AEFBD069FDF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0" creationId="{85C4D1C7-71E6-4458-9F8C-5A46B68FBCE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1" creationId="{E9698AC7-C2D2-4CF6-B338-2A6BD4A9D0C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2" creationId="{474ACA4C-7E97-4885-BBE8-E8919C772130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3" creationId="{2A91439D-1490-46AE-A0E5-1C26B48D69B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4" creationId="{37841FF5-848E-4BE6-B744-02FF44D8C7B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5" creationId="{FE396CCE-AAC0-4301-8301-833303B2454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6" creationId="{82C90A6D-3A2A-401A-93CF-DD1D728AE27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7" creationId="{4B38D850-F70E-4603-839A-295746F2711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8" creationId="{DB54479E-F8FA-462A-961A-16654FCBCE6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9" creationId="{40491FAE-A039-496F-A88E-AFEBE57D02E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0" creationId="{1CBF5D12-AABF-416A-B695-631B7C7E47C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1" creationId="{04FE3A28-9252-4C9F-967D-2D294E319BF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2" creationId="{160E5C33-D47D-47A8-8CC0-3EF71F7F82E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3" creationId="{89C6A33B-9CCE-4BF6-92F8-223136E86BA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4" creationId="{54A573E5-6491-4E0A-B530-C587C24BD2D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5" creationId="{ED125A6F-5662-4835-97BE-45B32B26858D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6" creationId="{99D10CBF-0E1D-46C2-BA30-72539A22461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7" creationId="{E9841B50-00AF-4DFD-B750-37D87FEE0781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8" creationId="{8D621B53-54E3-4C27-938B-E9C70955B71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0" creationId="{714FBE2E-5B11-4823-BFC9-75F56BC840B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1" creationId="{547B5C38-A9AE-4689-BF62-BAC1F0E99A9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2" creationId="{D4EFD47A-D98A-45E4-AF91-7501C47B75A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3" creationId="{793D7213-8B76-4FA2-B315-A319B362731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4" creationId="{ED2AC2BB-CDC0-4E31-9902-EFBBC86428B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5" creationId="{6CDA40B8-F4A0-4861-B72A-38E7B58A3F4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6" creationId="{894C126A-BEA1-4F11-AC55-22E9DFAB53E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7" creationId="{C2A8819C-3381-4E57-AD93-22E41798B6E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8" creationId="{2622495D-1E42-43C8-AC19-A5D5F65DAB6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9" creationId="{FC662C65-B179-454D-8BD0-D4BAB5FD98ED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0" creationId="{0CBF8F5D-EBFA-4DB7-AEA6-5DE9CC1952D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1" creationId="{DAE7034C-64DD-4BC5-9C41-7E7AB97D6C6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2" creationId="{51FAE396-2C07-4CAF-A018-EF6E49A62D6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3" creationId="{1A904466-5E80-4255-B766-D2B4011238D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4" creationId="{A036FA98-1031-4A32-9136-DFF6CB048146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5" creationId="{9937ED0F-EE52-4C81-80B8-509FC8035FD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6" creationId="{ED64DE50-9A2F-469D-8A57-F146B167D90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7" creationId="{ED8D19AD-27F5-44C4-B75F-E270EBD8FC5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8" creationId="{4DC4A63D-19A4-46BC-86D6-16996397011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9" creationId="{705984BB-07A3-4E06-BBAC-BCE9E6DCBFF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0" creationId="{B0A627FC-B90A-4686-976E-D00E4CC3AF5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1" creationId="{4F9195A5-AF64-420D-936D-EDBDF363366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2" creationId="{09FE3130-6CBF-4B62-A986-C4EFF7FE307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3" creationId="{6E71A595-0713-49DB-9642-30B754F15B1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4" creationId="{5E823B8A-6520-4406-9386-871DB303930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5" creationId="{B68DE4DB-DFE8-4FC9-B714-07D9E649F71D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6" creationId="{B459B751-DBF5-4ABE-855B-C2B2A5473FD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7" creationId="{75379FCD-8F53-4895-B489-0E1FFC8D011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8" creationId="{7E22C88E-D969-42F3-8E4B-D3D886E2DF0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9" creationId="{55584928-94C2-4A79-ADFD-404D6065384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0" creationId="{20548975-1E1B-4260-9213-DC974ED71EB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1" creationId="{4268D7DC-C166-490D-89BC-8F6E76B22BF4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2" creationId="{5A0CD868-B78F-42A2-8C8A-07737332A4E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3" creationId="{D027D3CF-BC74-4B21-95C0-AB24D8EA394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4" creationId="{057AAA7E-A201-4F37-BC46-72BE9BD8B75D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5" creationId="{1EC82E18-1C38-43BA-AA67-FCE15AC3D064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6" creationId="{DA8250B3-2043-4847-8312-620296CA23A4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7" creationId="{999874C7-C88D-462B-87A9-C49D91E7F0D2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8" creationId="{53F9656B-52F0-495A-957B-18A4132569C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9" creationId="{7AD20000-F972-4CC3-84BE-DA24CD4BD453}"/>
          </ac:spMkLst>
        </pc:spChg>
        <pc:spChg chg="add del mod">
          <ac:chgData name="Liu, Changsheng A." userId="877438ce-3489-4027-b8c0-4bd167ef53d0" providerId="ADAL" clId="{35AB68C3-AADD-4C6C-B90D-EE9085003035}" dt="2020-06-01T05:24:37.096" v="659" actId="478"/>
          <ac:spMkLst>
            <pc:docMk/>
            <pc:sldMk cId="2729856478" sldId="7072"/>
            <ac:spMk id="150" creationId="{4C12926C-C9B3-4873-BB1F-C05497747AAC}"/>
          </ac:spMkLst>
        </pc:spChg>
        <pc:spChg chg="add del mod">
          <ac:chgData name="Liu, Changsheng A." userId="877438ce-3489-4027-b8c0-4bd167ef53d0" providerId="ADAL" clId="{35AB68C3-AADD-4C6C-B90D-EE9085003035}" dt="2020-06-01T05:24:37.722" v="660" actId="478"/>
          <ac:spMkLst>
            <pc:docMk/>
            <pc:sldMk cId="2729856478" sldId="7072"/>
            <ac:spMk id="151" creationId="{CB01E2F7-11FD-4E32-BCD0-48D3F99F9E34}"/>
          </ac:spMkLst>
        </pc:spChg>
        <pc:spChg chg="add del mod">
          <ac:chgData name="Liu, Changsheng A." userId="877438ce-3489-4027-b8c0-4bd167ef53d0" providerId="ADAL" clId="{35AB68C3-AADD-4C6C-B90D-EE9085003035}" dt="2020-06-01T05:24:38.428" v="661" actId="478"/>
          <ac:spMkLst>
            <pc:docMk/>
            <pc:sldMk cId="2729856478" sldId="7072"/>
            <ac:spMk id="152" creationId="{4406527A-080F-4511-91B8-37D3C131B631}"/>
          </ac:spMkLst>
        </pc:spChg>
        <pc:spChg chg="add del mod">
          <ac:chgData name="Liu, Changsheng A." userId="877438ce-3489-4027-b8c0-4bd167ef53d0" providerId="ADAL" clId="{35AB68C3-AADD-4C6C-B90D-EE9085003035}" dt="2020-06-01T05:24:39.145" v="662" actId="478"/>
          <ac:spMkLst>
            <pc:docMk/>
            <pc:sldMk cId="2729856478" sldId="7072"/>
            <ac:spMk id="153" creationId="{F5709649-4BB1-4C8D-BDBA-C75F4B28E050}"/>
          </ac:spMkLst>
        </pc:spChg>
        <pc:spChg chg="add del mod">
          <ac:chgData name="Liu, Changsheng A." userId="877438ce-3489-4027-b8c0-4bd167ef53d0" providerId="ADAL" clId="{35AB68C3-AADD-4C6C-B90D-EE9085003035}" dt="2020-06-01T05:24:39.846" v="663" actId="478"/>
          <ac:spMkLst>
            <pc:docMk/>
            <pc:sldMk cId="2729856478" sldId="7072"/>
            <ac:spMk id="154" creationId="{C9B8856B-AF4C-409D-9E60-72B5B28E3817}"/>
          </ac:spMkLst>
        </pc:spChg>
        <pc:spChg chg="add mod ord topLvl">
          <ac:chgData name="Liu, Changsheng A." userId="877438ce-3489-4027-b8c0-4bd167ef53d0" providerId="ADAL" clId="{35AB68C3-AADD-4C6C-B90D-EE9085003035}" dt="2020-06-01T05:48:05.710" v="1085" actId="113"/>
          <ac:spMkLst>
            <pc:docMk/>
            <pc:sldMk cId="2729856478" sldId="7072"/>
            <ac:spMk id="155" creationId="{6982A03D-8A4B-43BB-91E2-9159A662C013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3" creationId="{CA1BAFED-5DDC-47B0-BD1C-D57A40700217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4" creationId="{B4516EAE-17E2-4D0B-BB0B-D6B897412231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5" creationId="{91F95AEF-9785-4B46-A061-AB38A8446185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6" creationId="{97C91B7C-AE15-468F-AC9B-A9A2E55C20E1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7" creationId="{6B408180-4917-4DB9-AC94-8DEACB234430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9" creationId="{99A53870-5371-4C8A-A81D-276EE8EFBB7A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0" creationId="{E18C2752-AB71-4B8B-A535-FCA9A9E361FE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1" creationId="{7A9A740D-B213-46A1-AC27-9FD465A398A1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2" creationId="{7F0957FE-EBB4-4908-9598-0A31BD7571C7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3" creationId="{CFA64541-AEC5-4EA2-8A3D-0D45CD8687FF}"/>
          </ac:spMkLst>
        </pc:spChg>
        <pc:spChg chg="add mod topLvl">
          <ac:chgData name="Liu, Changsheng A." userId="877438ce-3489-4027-b8c0-4bd167ef53d0" providerId="ADAL" clId="{35AB68C3-AADD-4C6C-B90D-EE9085003035}" dt="2020-06-01T05:40:33.591" v="1019" actId="1035"/>
          <ac:spMkLst>
            <pc:docMk/>
            <pc:sldMk cId="2729856478" sldId="7072"/>
            <ac:spMk id="174" creationId="{92E56961-D660-475F-9B5B-B563A8DE9738}"/>
          </ac:spMkLst>
        </pc:spChg>
        <pc:spChg chg="add mod topLvl">
          <ac:chgData name="Liu, Changsheng A." userId="877438ce-3489-4027-b8c0-4bd167ef53d0" providerId="ADAL" clId="{35AB68C3-AADD-4C6C-B90D-EE9085003035}" dt="2020-06-01T05:40:31.988" v="1017" actId="1035"/>
          <ac:spMkLst>
            <pc:docMk/>
            <pc:sldMk cId="2729856478" sldId="7072"/>
            <ac:spMk id="175" creationId="{82DD84EE-4862-40E4-B96F-05774D7524F3}"/>
          </ac:spMkLst>
        </pc:spChg>
        <pc:spChg chg="add mod">
          <ac:chgData name="Liu, Changsheng A." userId="877438ce-3489-4027-b8c0-4bd167ef53d0" providerId="ADAL" clId="{35AB68C3-AADD-4C6C-B90D-EE9085003035}" dt="2020-06-01T05:37:38.473" v="969" actId="1076"/>
          <ac:spMkLst>
            <pc:docMk/>
            <pc:sldMk cId="2729856478" sldId="7072"/>
            <ac:spMk id="176" creationId="{FE8BBEC4-CC86-4720-9F7B-B3ED90B167B5}"/>
          </ac:spMkLst>
        </pc:spChg>
        <pc:spChg chg="add mod">
          <ac:chgData name="Liu, Changsheng A." userId="877438ce-3489-4027-b8c0-4bd167ef53d0" providerId="ADAL" clId="{35AB68C3-AADD-4C6C-B90D-EE9085003035}" dt="2020-06-01T05:46:15.751" v="1082" actId="113"/>
          <ac:spMkLst>
            <pc:docMk/>
            <pc:sldMk cId="2729856478" sldId="7072"/>
            <ac:spMk id="177" creationId="{F73C9FEE-6350-4F05-B744-92279F143778}"/>
          </ac:spMkLst>
        </pc:spChg>
        <pc:spChg chg="add del">
          <ac:chgData name="Liu, Changsheng A." userId="877438ce-3489-4027-b8c0-4bd167ef53d0" providerId="ADAL" clId="{35AB68C3-AADD-4C6C-B90D-EE9085003035}" dt="2020-06-01T05:46:14.694" v="1081"/>
          <ac:spMkLst>
            <pc:docMk/>
            <pc:sldMk cId="2729856478" sldId="7072"/>
            <ac:spMk id="178" creationId="{D6FF7610-9449-4B4A-9ECD-BF5C9D0B4262}"/>
          </ac:spMkLst>
        </pc:spChg>
        <pc:grpChg chg="add del mod">
          <ac:chgData name="Liu, Changsheng A." userId="877438ce-3489-4027-b8c0-4bd167ef53d0" providerId="ADAL" clId="{35AB68C3-AADD-4C6C-B90D-EE9085003035}" dt="2020-06-01T05:38:53.538" v="979" actId="165"/>
          <ac:grpSpMkLst>
            <pc:docMk/>
            <pc:sldMk cId="2729856478" sldId="7072"/>
            <ac:grpSpMk id="9" creationId="{D469497E-55AB-4B7C-A1E5-EA502777FE18}"/>
          </ac:grpSpMkLst>
        </pc:grpChg>
        <pc:grpChg chg="mod">
          <ac:chgData name="Liu, Changsheng A." userId="877438ce-3489-4027-b8c0-4bd167ef53d0" providerId="ADAL" clId="{35AB68C3-AADD-4C6C-B90D-EE9085003035}" dt="2020-06-01T05:42:18.607" v="1027" actId="1076"/>
          <ac:grpSpMkLst>
            <pc:docMk/>
            <pc:sldMk cId="2729856478" sldId="7072"/>
            <ac:grpSpMk id="70" creationId="{5BBA9151-CA60-480C-B47F-4D27E73879B3}"/>
          </ac:grpSpMkLst>
        </pc:grpChg>
        <pc:graphicFrameChg chg="add mod topLvl">
          <ac:chgData name="Liu, Changsheng A." userId="877438ce-3489-4027-b8c0-4bd167ef53d0" providerId="ADAL" clId="{35AB68C3-AADD-4C6C-B90D-EE9085003035}" dt="2020-06-01T05:42:49.272" v="1029" actId="12269"/>
          <ac:graphicFrameMkLst>
            <pc:docMk/>
            <pc:sldMk cId="2729856478" sldId="7072"/>
            <ac:graphicFrameMk id="3" creationId="{48812ECC-C370-4011-B626-AECE60B19270}"/>
          </ac:graphicFrameMkLst>
        </pc:graphicFrameChg>
        <pc:graphicFrameChg chg="modGraphic">
          <ac:chgData name="Liu, Changsheng A." userId="877438ce-3489-4027-b8c0-4bd167ef53d0" providerId="ADAL" clId="{35AB68C3-AADD-4C6C-B90D-EE9085003035}" dt="2020-06-01T05:46:45.095" v="1083" actId="207"/>
          <ac:graphicFrameMkLst>
            <pc:docMk/>
            <pc:sldMk cId="2729856478" sldId="7072"/>
            <ac:graphicFrameMk id="4" creationId="{6155957B-9638-40C1-A9BC-BE1BC7C9E984}"/>
          </ac:graphicFrameMkLst>
        </pc:graphicFrameChg>
        <pc:cxnChg chg="del">
          <ac:chgData name="Liu, Changsheng A." userId="877438ce-3489-4027-b8c0-4bd167ef53d0" providerId="ADAL" clId="{35AB68C3-AADD-4C6C-B90D-EE9085003035}" dt="2020-06-01T05:19:53.228" v="575" actId="478"/>
          <ac:cxnSpMkLst>
            <pc:docMk/>
            <pc:sldMk cId="2729856478" sldId="7072"/>
            <ac:cxnSpMk id="109" creationId="{245FBB01-08FA-4811-9086-E7CE9FFFC97E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6" creationId="{057354C6-0346-4CA3-A479-3477BEAE1DAB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7" creationId="{283245AB-D2A2-442F-AB6F-5C47867B2BDA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8" creationId="{55F60300-A651-44B0-9DF7-118B18A86167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9" creationId="{71E90A51-52B0-4AC3-82A9-35270E042A43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60" creationId="{5112B6FD-E24B-413E-98D1-F4B3771C9BCE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61" creationId="{0B4DB62A-5517-430A-94F5-0C22A7A10A28}"/>
          </ac:cxnSpMkLst>
        </pc:cxnChg>
        <pc:cxnChg chg="add mod topLvl">
          <ac:chgData name="Liu, Changsheng A." userId="877438ce-3489-4027-b8c0-4bd167ef53d0" providerId="ADAL" clId="{35AB68C3-AADD-4C6C-B90D-EE9085003035}" dt="2020-06-01T05:47:58.505" v="1084" actId="208"/>
          <ac:cxnSpMkLst>
            <pc:docMk/>
            <pc:sldMk cId="2729856478" sldId="7072"/>
            <ac:cxnSpMk id="162" creationId="{AFB8B8D4-EEE9-4B04-862C-D0A85B5AFA07}"/>
          </ac:cxnSpMkLst>
        </pc:cxnChg>
        <pc:cxnChg chg="add mod topLvl">
          <ac:chgData name="Liu, Changsheng A." userId="877438ce-3489-4027-b8c0-4bd167ef53d0" providerId="ADAL" clId="{35AB68C3-AADD-4C6C-B90D-EE9085003035}" dt="2020-06-01T05:44:55.287" v="1077" actId="692"/>
          <ac:cxnSpMkLst>
            <pc:docMk/>
            <pc:sldMk cId="2729856478" sldId="7072"/>
            <ac:cxnSpMk id="168" creationId="{4F63E910-D499-436F-B596-AEA1E239E922}"/>
          </ac:cxnSpMkLst>
        </pc:cxnChg>
      </pc:sldChg>
      <pc:sldChg chg="addSp delSp modSp add">
        <pc:chgData name="Liu, Changsheng A." userId="877438ce-3489-4027-b8c0-4bd167ef53d0" providerId="ADAL" clId="{35AB68C3-AADD-4C6C-B90D-EE9085003035}" dt="2020-06-01T11:01:21.863" v="1344" actId="207"/>
        <pc:sldMkLst>
          <pc:docMk/>
          <pc:sldMk cId="2078933728" sldId="7073"/>
        </pc:sldMkLst>
        <pc:spChg chg="add mod">
          <ac:chgData name="Liu, Changsheng A." userId="877438ce-3489-4027-b8c0-4bd167ef53d0" providerId="ADAL" clId="{35AB68C3-AADD-4C6C-B90D-EE9085003035}" dt="2020-06-01T10:58:16.238" v="1338" actId="1076"/>
          <ac:spMkLst>
            <pc:docMk/>
            <pc:sldMk cId="2078933728" sldId="7073"/>
            <ac:spMk id="5" creationId="{AA98423E-8F40-4B2A-AC95-647A24DD16D8}"/>
          </ac:spMkLst>
        </pc:spChg>
        <pc:spChg chg="mod">
          <ac:chgData name="Liu, Changsheng A." userId="877438ce-3489-4027-b8c0-4bd167ef53d0" providerId="ADAL" clId="{35AB68C3-AADD-4C6C-B90D-EE9085003035}" dt="2020-06-01T10:47:33.285" v="1293" actId="1076"/>
          <ac:spMkLst>
            <pc:docMk/>
            <pc:sldMk cId="2078933728" sldId="7073"/>
            <ac:spMk id="10" creationId="{4D9B5909-B820-4B3C-8F02-83CB81D8980F}"/>
          </ac:spMkLst>
        </pc:spChg>
        <pc:spChg chg="mod">
          <ac:chgData name="Liu, Changsheng A." userId="877438ce-3489-4027-b8c0-4bd167ef53d0" providerId="ADAL" clId="{35AB68C3-AADD-4C6C-B90D-EE9085003035}" dt="2020-06-01T10:48:25.509" v="1302" actId="1076"/>
          <ac:spMkLst>
            <pc:docMk/>
            <pc:sldMk cId="2078933728" sldId="7073"/>
            <ac:spMk id="24" creationId="{1427C411-8467-4EC1-AFF2-82A3435FA2B7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27" creationId="{11738D7A-04CC-4EF5-85EA-BDE095A887FD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28" creationId="{647402D2-B8CB-46CB-8230-49DE19402AF3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29" creationId="{8E9C722A-B2BA-42B5-9B86-8CA59B700607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30" creationId="{8BCFEBA6-0EAC-473F-9E61-61E0E7D7E676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31" creationId="{832A4CF6-9CE5-4438-BA5C-AFD082F0C2F4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2" creationId="{71B31A1F-918C-43A4-AA7E-AFC6E6F24BDD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3" creationId="{EB5F6BFC-515D-409D-98C7-AE8F56A40405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4" creationId="{55E82AD3-D03E-478C-9A5F-F93F75E34F59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5" creationId="{324ECC88-9E99-46EA-B9E6-8E27507BD242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6" creationId="{55AEC59F-A253-42D6-BAB5-62B1A8024B6C}"/>
          </ac:spMkLst>
        </pc:spChg>
        <pc:spChg chg="mod topLvl">
          <ac:chgData name="Liu, Changsheng A." userId="877438ce-3489-4027-b8c0-4bd167ef53d0" providerId="ADAL" clId="{35AB68C3-AADD-4C6C-B90D-EE9085003035}" dt="2020-06-01T10:52:42.410" v="1329" actId="20577"/>
          <ac:spMkLst>
            <pc:docMk/>
            <pc:sldMk cId="2078933728" sldId="7073"/>
            <ac:spMk id="37" creationId="{5768E9E1-7A19-4265-98EA-F4D06E010D87}"/>
          </ac:spMkLst>
        </pc:spChg>
        <pc:spChg chg="mod topLvl">
          <ac:chgData name="Liu, Changsheng A." userId="877438ce-3489-4027-b8c0-4bd167ef53d0" providerId="ADAL" clId="{35AB68C3-AADD-4C6C-B90D-EE9085003035}" dt="2020-06-01T10:53:00.510" v="1334" actId="20577"/>
          <ac:spMkLst>
            <pc:docMk/>
            <pc:sldMk cId="2078933728" sldId="7073"/>
            <ac:spMk id="38" creationId="{121D65B4-E10C-4D60-B212-2C942968F72F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39" creationId="{474E7E2E-C6D5-4FD4-A259-15836834AABA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40" creationId="{EDBD5573-79E8-4AC2-A951-7D96D0C67F86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41" creationId="{87D99611-DBFC-4621-B18D-892888142ECC}"/>
          </ac:spMkLst>
        </pc:spChg>
        <pc:spChg chg="mod topLvl">
          <ac:chgData name="Liu, Changsheng A." userId="877438ce-3489-4027-b8c0-4bd167ef53d0" providerId="ADAL" clId="{35AB68C3-AADD-4C6C-B90D-EE9085003035}" dt="2020-06-01T10:52:58.641" v="1333" actId="20577"/>
          <ac:spMkLst>
            <pc:docMk/>
            <pc:sldMk cId="2078933728" sldId="7073"/>
            <ac:spMk id="42" creationId="{3E15D2F8-9DB0-4866-A4C8-8CD0F298F02A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3" creationId="{07029AE1-F50D-4F8F-93D2-771A724A0918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4" creationId="{8CD7A325-1339-4E4F-8A99-A2575C7BB420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45" creationId="{8EE6D591-BD01-4AF9-9B1E-CA2D8A146FAB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46" creationId="{FDF96610-225C-44FC-B78B-657ACA73AB8C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7" creationId="{079577EA-BE69-4DE1-B648-AB5123CEBEBC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8" creationId="{76CEF490-3071-41E9-B4AB-918ADD4A8177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49" creationId="{C7AC6EAB-331F-42AF-8266-C1FF6C8666F2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0" creationId="{54AB5148-3057-4A1D-BF9B-17047A4E42D1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1" creationId="{4644D9B5-A3D9-47F4-B408-5874AC22245D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52" creationId="{53990669-D6CF-4256-B0BC-62FAE4029A59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53" creationId="{ED89F336-4BEA-4C0D-8F17-74E1240A9038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4" creationId="{2867D0DC-A98D-485E-9B48-B550939BA2A3}"/>
          </ac:spMkLst>
        </pc:spChg>
        <pc:spChg chg="mod topLvl">
          <ac:chgData name="Liu, Changsheng A." userId="877438ce-3489-4027-b8c0-4bd167ef53d0" providerId="ADAL" clId="{35AB68C3-AADD-4C6C-B90D-EE9085003035}" dt="2020-06-01T10:46:10.186" v="1289" actId="20577"/>
          <ac:spMkLst>
            <pc:docMk/>
            <pc:sldMk cId="2078933728" sldId="7073"/>
            <ac:spMk id="55" creationId="{20F13826-1658-42F1-904F-384B91864645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6" creationId="{E1984666-CC3C-4BAF-A1C3-5D3BEA45E35D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7" creationId="{B2012D40-374F-43A6-A06B-6ED394DFA93F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8" creationId="{36C34AC6-6463-4DF4-B0F3-4D381DC1A4F3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9" creationId="{8EB26390-F4CC-43F7-BC11-B9999A07DDA0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60" creationId="{C312CAA5-7D7C-474A-9701-6EF0914A6244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61" creationId="{BAF5D4EC-7B74-4F1E-B6CF-6B2EB899A7DE}"/>
          </ac:spMkLst>
        </pc:spChg>
        <pc:spChg chg="mod topLvl">
          <ac:chgData name="Liu, Changsheng A." userId="877438ce-3489-4027-b8c0-4bd167ef53d0" providerId="ADAL" clId="{35AB68C3-AADD-4C6C-B90D-EE9085003035}" dt="2020-06-01T10:40:28.625" v="1122" actId="165"/>
          <ac:spMkLst>
            <pc:docMk/>
            <pc:sldMk cId="2078933728" sldId="7073"/>
            <ac:spMk id="62" creationId="{E1E7A93B-6099-40C5-9663-CACA3885B393}"/>
          </ac:spMkLst>
        </pc:spChg>
        <pc:spChg chg="mod topLvl">
          <ac:chgData name="Liu, Changsheng A." userId="877438ce-3489-4027-b8c0-4bd167ef53d0" providerId="ADAL" clId="{35AB68C3-AADD-4C6C-B90D-EE9085003035}" dt="2020-06-01T10:40:28.625" v="1122" actId="165"/>
          <ac:spMkLst>
            <pc:docMk/>
            <pc:sldMk cId="2078933728" sldId="7073"/>
            <ac:spMk id="66" creationId="{32128900-A13D-4FA0-9EF3-1CE6C9EA1C55}"/>
          </ac:spMkLst>
        </pc:spChg>
        <pc:spChg chg="mod topLvl">
          <ac:chgData name="Liu, Changsheng A." userId="877438ce-3489-4027-b8c0-4bd167ef53d0" providerId="ADAL" clId="{35AB68C3-AADD-4C6C-B90D-EE9085003035}" dt="2020-06-01T10:40:28.625" v="1122" actId="165"/>
          <ac:spMkLst>
            <pc:docMk/>
            <pc:sldMk cId="2078933728" sldId="7073"/>
            <ac:spMk id="68" creationId="{E2760D1B-B5A1-424A-8EFB-52943AAEA436}"/>
          </ac:spMkLst>
        </pc:spChg>
        <pc:spChg chg="add mod">
          <ac:chgData name="Liu, Changsheng A." userId="877438ce-3489-4027-b8c0-4bd167ef53d0" providerId="ADAL" clId="{35AB68C3-AADD-4C6C-B90D-EE9085003035}" dt="2020-06-01T10:41:20.657" v="1166" actId="20577"/>
          <ac:spMkLst>
            <pc:docMk/>
            <pc:sldMk cId="2078933728" sldId="7073"/>
            <ac:spMk id="72" creationId="{2AA5DAF8-DCEE-4FB4-903A-A5DE76111CFA}"/>
          </ac:spMkLst>
        </pc:spChg>
        <pc:spChg chg="add mod">
          <ac:chgData name="Liu, Changsheng A." userId="877438ce-3489-4027-b8c0-4bd167ef53d0" providerId="ADAL" clId="{35AB68C3-AADD-4C6C-B90D-EE9085003035}" dt="2020-06-01T10:52:36.140" v="1328" actId="20577"/>
          <ac:spMkLst>
            <pc:docMk/>
            <pc:sldMk cId="2078933728" sldId="7073"/>
            <ac:spMk id="73" creationId="{CB23F596-D5BE-454E-B59B-1378CFC55C5E}"/>
          </ac:spMkLst>
        </pc:spChg>
        <pc:spChg chg="add mod">
          <ac:chgData name="Liu, Changsheng A." userId="877438ce-3489-4027-b8c0-4bd167ef53d0" providerId="ADAL" clId="{35AB68C3-AADD-4C6C-B90D-EE9085003035}" dt="2020-06-01T10:52:55.422" v="1332" actId="20577"/>
          <ac:spMkLst>
            <pc:docMk/>
            <pc:sldMk cId="2078933728" sldId="7073"/>
            <ac:spMk id="74" creationId="{4AA14367-7A10-476F-9016-49A2BBEA799F}"/>
          </ac:spMkLst>
        </pc:spChg>
        <pc:spChg chg="add mod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75" creationId="{BC02985C-7420-4986-B441-1AA4D0775D16}"/>
          </ac:spMkLst>
        </pc:spChg>
        <pc:spChg chg="add mod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76" creationId="{17710159-EF59-48F8-B91B-8D2134F4FDE8}"/>
          </ac:spMkLst>
        </pc:spChg>
        <pc:spChg chg="add mod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77" creationId="{30050CDE-A4DD-4DF7-AC94-99C0B4C96423}"/>
          </ac:spMkLst>
        </pc:spChg>
        <pc:spChg chg="add mod">
          <ac:chgData name="Liu, Changsheng A." userId="877438ce-3489-4027-b8c0-4bd167ef53d0" providerId="ADAL" clId="{35AB68C3-AADD-4C6C-B90D-EE9085003035}" dt="2020-06-01T10:41:51.803" v="1219" actId="20577"/>
          <ac:spMkLst>
            <pc:docMk/>
            <pc:sldMk cId="2078933728" sldId="7073"/>
            <ac:spMk id="78" creationId="{BCC7604B-327C-413F-9DA2-2B112C3E7359}"/>
          </ac:spMkLst>
        </pc:spChg>
        <pc:spChg chg="add mod">
          <ac:chgData name="Liu, Changsheng A." userId="877438ce-3489-4027-b8c0-4bd167ef53d0" providerId="ADAL" clId="{35AB68C3-AADD-4C6C-B90D-EE9085003035}" dt="2020-06-01T10:43:11.423" v="1232" actId="20577"/>
          <ac:spMkLst>
            <pc:docMk/>
            <pc:sldMk cId="2078933728" sldId="7073"/>
            <ac:spMk id="79" creationId="{3B0118A3-C45C-4EF2-9D15-7D5E3275D655}"/>
          </ac:spMkLst>
        </pc:spChg>
        <pc:spChg chg="add mod">
          <ac:chgData name="Liu, Changsheng A." userId="877438ce-3489-4027-b8c0-4bd167ef53d0" providerId="ADAL" clId="{35AB68C3-AADD-4C6C-B90D-EE9085003035}" dt="2020-06-01T10:52:33.320" v="1324" actId="20577"/>
          <ac:spMkLst>
            <pc:docMk/>
            <pc:sldMk cId="2078933728" sldId="7073"/>
            <ac:spMk id="80" creationId="{5687D83A-6553-459A-B2AF-7C6D59655E9D}"/>
          </ac:spMkLst>
        </pc:spChg>
        <pc:spChg chg="add mod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81" creationId="{EB7133EF-8594-4403-A8F8-500F799473D1}"/>
          </ac:spMkLst>
        </pc:spChg>
        <pc:spChg chg="add mod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82" creationId="{BBED5C99-389D-49D0-9DD0-A611CAB83AA6}"/>
          </ac:spMkLst>
        </pc:spChg>
        <pc:spChg chg="add mod">
          <ac:chgData name="Liu, Changsheng A." userId="877438ce-3489-4027-b8c0-4bd167ef53d0" providerId="ADAL" clId="{35AB68C3-AADD-4C6C-B90D-EE9085003035}" dt="2020-06-01T10:41:36.293" v="1194" actId="571"/>
          <ac:spMkLst>
            <pc:docMk/>
            <pc:sldMk cId="2078933728" sldId="7073"/>
            <ac:spMk id="83" creationId="{7C624BD0-FD52-49EC-99AD-160153C5B3B5}"/>
          </ac:spMkLst>
        </pc:spChg>
        <pc:spChg chg="add mod">
          <ac:chgData name="Liu, Changsheng A." userId="877438ce-3489-4027-b8c0-4bd167ef53d0" providerId="ADAL" clId="{35AB68C3-AADD-4C6C-B90D-EE9085003035}" dt="2020-06-01T10:53:09.844" v="1336" actId="20577"/>
          <ac:spMkLst>
            <pc:docMk/>
            <pc:sldMk cId="2078933728" sldId="7073"/>
            <ac:spMk id="84" creationId="{16EB385F-196F-4CDA-88C5-119228B5A246}"/>
          </ac:spMkLst>
        </pc:spChg>
        <pc:spChg chg="mod">
          <ac:chgData name="Liu, Changsheng A." userId="877438ce-3489-4027-b8c0-4bd167ef53d0" providerId="ADAL" clId="{35AB68C3-AADD-4C6C-B90D-EE9085003035}" dt="2020-06-01T10:36:51.030" v="1094" actId="20577"/>
          <ac:spMkLst>
            <pc:docMk/>
            <pc:sldMk cId="2078933728" sldId="7073"/>
            <ac:spMk id="164" creationId="{B4516EAE-17E2-4D0B-BB0B-D6B897412231}"/>
          </ac:spMkLst>
        </pc:spChg>
        <pc:spChg chg="mod">
          <ac:chgData name="Liu, Changsheng A." userId="877438ce-3489-4027-b8c0-4bd167ef53d0" providerId="ADAL" clId="{35AB68C3-AADD-4C6C-B90D-EE9085003035}" dt="2020-06-01T10:36:54.423" v="1095" actId="20577"/>
          <ac:spMkLst>
            <pc:docMk/>
            <pc:sldMk cId="2078933728" sldId="7073"/>
            <ac:spMk id="165" creationId="{91F95AEF-9785-4B46-A061-AB38A8446185}"/>
          </ac:spMkLst>
        </pc:spChg>
        <pc:spChg chg="mod">
          <ac:chgData name="Liu, Changsheng A." userId="877438ce-3489-4027-b8c0-4bd167ef53d0" providerId="ADAL" clId="{35AB68C3-AADD-4C6C-B90D-EE9085003035}" dt="2020-06-01T10:37:05.032" v="1097" actId="20577"/>
          <ac:spMkLst>
            <pc:docMk/>
            <pc:sldMk cId="2078933728" sldId="7073"/>
            <ac:spMk id="166" creationId="{97C91B7C-AE15-468F-AC9B-A9A2E55C20E1}"/>
          </ac:spMkLst>
        </pc:spChg>
        <pc:spChg chg="mod">
          <ac:chgData name="Liu, Changsheng A." userId="877438ce-3489-4027-b8c0-4bd167ef53d0" providerId="ADAL" clId="{35AB68C3-AADD-4C6C-B90D-EE9085003035}" dt="2020-06-01T10:58:57.464" v="1341" actId="20577"/>
          <ac:spMkLst>
            <pc:docMk/>
            <pc:sldMk cId="2078933728" sldId="7073"/>
            <ac:spMk id="167" creationId="{6B408180-4917-4DB9-AC94-8DEACB234430}"/>
          </ac:spMkLst>
        </pc:spChg>
        <pc:spChg chg="mod">
          <ac:chgData name="Liu, Changsheng A." userId="877438ce-3489-4027-b8c0-4bd167ef53d0" providerId="ADAL" clId="{35AB68C3-AADD-4C6C-B90D-EE9085003035}" dt="2020-06-01T10:47:51.326" v="1297" actId="20577"/>
          <ac:spMkLst>
            <pc:docMk/>
            <pc:sldMk cId="2078933728" sldId="7073"/>
            <ac:spMk id="171" creationId="{7A9A740D-B213-46A1-AC27-9FD465A398A1}"/>
          </ac:spMkLst>
        </pc:spChg>
        <pc:spChg chg="mod">
          <ac:chgData name="Liu, Changsheng A." userId="877438ce-3489-4027-b8c0-4bd167ef53d0" providerId="ADAL" clId="{35AB68C3-AADD-4C6C-B90D-EE9085003035}" dt="2020-06-01T10:47:54.088" v="1299" actId="20577"/>
          <ac:spMkLst>
            <pc:docMk/>
            <pc:sldMk cId="2078933728" sldId="7073"/>
            <ac:spMk id="172" creationId="{7F0957FE-EBB4-4908-9598-0A31BD7571C7}"/>
          </ac:spMkLst>
        </pc:spChg>
        <pc:spChg chg="mod">
          <ac:chgData name="Liu, Changsheng A." userId="877438ce-3489-4027-b8c0-4bd167ef53d0" providerId="ADAL" clId="{35AB68C3-AADD-4C6C-B90D-EE9085003035}" dt="2020-06-01T10:47:56.546" v="1300" actId="20577"/>
          <ac:spMkLst>
            <pc:docMk/>
            <pc:sldMk cId="2078933728" sldId="7073"/>
            <ac:spMk id="173" creationId="{CFA64541-AEC5-4EA2-8A3D-0D45CD8687FF}"/>
          </ac:spMkLst>
        </pc:spChg>
        <pc:spChg chg="del mod">
          <ac:chgData name="Liu, Changsheng A." userId="877438ce-3489-4027-b8c0-4bd167ef53d0" providerId="ADAL" clId="{35AB68C3-AADD-4C6C-B90D-EE9085003035}" dt="2020-06-01T10:40:44.795" v="1153" actId="478"/>
          <ac:spMkLst>
            <pc:docMk/>
            <pc:sldMk cId="2078933728" sldId="7073"/>
            <ac:spMk id="177" creationId="{F73C9FEE-6350-4F05-B744-92279F143778}"/>
          </ac:spMkLst>
        </pc:spChg>
        <pc:grpChg chg="del">
          <ac:chgData name="Liu, Changsheng A." userId="877438ce-3489-4027-b8c0-4bd167ef53d0" providerId="ADAL" clId="{35AB68C3-AADD-4C6C-B90D-EE9085003035}" dt="2020-06-01T10:40:28.625" v="1122" actId="165"/>
          <ac:grpSpMkLst>
            <pc:docMk/>
            <pc:sldMk cId="2078933728" sldId="7073"/>
            <ac:grpSpMk id="70" creationId="{5BBA9151-CA60-480C-B47F-4D27E73879B3}"/>
          </ac:grpSpMkLst>
        </pc:grpChg>
        <pc:graphicFrameChg chg="mod">
          <ac:chgData name="Liu, Changsheng A." userId="877438ce-3489-4027-b8c0-4bd167ef53d0" providerId="ADAL" clId="{35AB68C3-AADD-4C6C-B90D-EE9085003035}" dt="2020-06-01T11:01:21.863" v="1344" actId="207"/>
          <ac:graphicFrameMkLst>
            <pc:docMk/>
            <pc:sldMk cId="2078933728" sldId="7073"/>
            <ac:graphicFrameMk id="3" creationId="{48812ECC-C370-4011-B626-AECE60B19270}"/>
          </ac:graphicFrameMkLst>
        </pc:graphicFrameChg>
        <pc:graphicFrameChg chg="mod modGraphic">
          <ac:chgData name="Liu, Changsheng A." userId="877438ce-3489-4027-b8c0-4bd167ef53d0" providerId="ADAL" clId="{35AB68C3-AADD-4C6C-B90D-EE9085003035}" dt="2020-06-01T10:48:31.951" v="1303" actId="255"/>
          <ac:graphicFrameMkLst>
            <pc:docMk/>
            <pc:sldMk cId="2078933728" sldId="7073"/>
            <ac:graphicFrameMk id="4" creationId="{6155957B-9638-40C1-A9BC-BE1BC7C9E984}"/>
          </ac:graphicFrameMkLst>
        </pc:graphicFrameChg>
        <pc:cxnChg chg="mod topLvl">
          <ac:chgData name="Liu, Changsheng A." userId="877438ce-3489-4027-b8c0-4bd167ef53d0" providerId="ADAL" clId="{35AB68C3-AADD-4C6C-B90D-EE9085003035}" dt="2020-06-01T10:40:28.625" v="1122" actId="165"/>
          <ac:cxnSpMkLst>
            <pc:docMk/>
            <pc:sldMk cId="2078933728" sldId="7073"/>
            <ac:cxnSpMk id="64" creationId="{9B801E2D-BCCB-43A2-B462-A9E7A0ECD55F}"/>
          </ac:cxnSpMkLst>
        </pc:cxnChg>
      </pc:sldChg>
      <pc:sldChg chg="addSp modSp add">
        <pc:chgData name="Liu, Changsheng A." userId="877438ce-3489-4027-b8c0-4bd167ef53d0" providerId="ADAL" clId="{35AB68C3-AADD-4C6C-B90D-EE9085003035}" dt="2020-06-01T11:54:34.824" v="1781" actId="1076"/>
        <pc:sldMkLst>
          <pc:docMk/>
          <pc:sldMk cId="2921799353" sldId="7074"/>
        </pc:sldMkLst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5" creationId="{AA98423E-8F40-4B2A-AC95-647A24DD16D8}"/>
          </ac:spMkLst>
        </pc:spChg>
        <pc:spChg chg="mod">
          <ac:chgData name="Liu, Changsheng A." userId="877438ce-3489-4027-b8c0-4bd167ef53d0" providerId="ADAL" clId="{35AB68C3-AADD-4C6C-B90D-EE9085003035}" dt="2020-06-01T11:54:34.824" v="1781" actId="1076"/>
          <ac:spMkLst>
            <pc:docMk/>
            <pc:sldMk cId="2921799353" sldId="7074"/>
            <ac:spMk id="10" creationId="{4D9B5909-B820-4B3C-8F02-83CB81D8980F}"/>
          </ac:spMkLst>
        </pc:spChg>
        <pc:spChg chg="mod">
          <ac:chgData name="Liu, Changsheng A." userId="877438ce-3489-4027-b8c0-4bd167ef53d0" providerId="ADAL" clId="{35AB68C3-AADD-4C6C-B90D-EE9085003035}" dt="2020-06-01T11:54:30.522" v="1780" actId="1037"/>
          <ac:spMkLst>
            <pc:docMk/>
            <pc:sldMk cId="2921799353" sldId="7074"/>
            <ac:spMk id="24" creationId="{1427C411-8467-4EC1-AFF2-82A3435FA2B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27" creationId="{11738D7A-04CC-4EF5-85EA-BDE095A887F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28" creationId="{647402D2-B8CB-46CB-8230-49DE19402AF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29" creationId="{8E9C722A-B2BA-42B5-9B86-8CA59B70060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0" creationId="{8BCFEBA6-0EAC-473F-9E61-61E0E7D7E67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1" creationId="{832A4CF6-9CE5-4438-BA5C-AFD082F0C2F4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2" creationId="{71B31A1F-918C-43A4-AA7E-AFC6E6F24BD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3" creationId="{EB5F6BFC-515D-409D-98C7-AE8F56A4040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4" creationId="{55E82AD3-D03E-478C-9A5F-F93F75E34F59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5" creationId="{324ECC88-9E99-46EA-B9E6-8E27507BD242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6" creationId="{55AEC59F-A253-42D6-BAB5-62B1A8024B6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7" creationId="{5768E9E1-7A19-4265-98EA-F4D06E010D8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8" creationId="{121D65B4-E10C-4D60-B212-2C942968F72F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9" creationId="{474E7E2E-C6D5-4FD4-A259-15836834AABA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0" creationId="{EDBD5573-79E8-4AC2-A951-7D96D0C67F8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1" creationId="{87D99611-DBFC-4621-B18D-892888142EC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2" creationId="{3E15D2F8-9DB0-4866-A4C8-8CD0F298F02A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3" creationId="{07029AE1-F50D-4F8F-93D2-771A724A0918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4" creationId="{8CD7A325-1339-4E4F-8A99-A2575C7BB420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5" creationId="{8EE6D591-BD01-4AF9-9B1E-CA2D8A146FAB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6" creationId="{FDF96610-225C-44FC-B78B-657ACA73AB8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7" creationId="{079577EA-BE69-4DE1-B648-AB5123CEBEB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8" creationId="{76CEF490-3071-41E9-B4AB-918ADD4A817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9" creationId="{C7AC6EAB-331F-42AF-8266-C1FF6C8666F2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0" creationId="{54AB5148-3057-4A1D-BF9B-17047A4E42D1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1" creationId="{4644D9B5-A3D9-47F4-B408-5874AC22245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2" creationId="{53990669-D6CF-4256-B0BC-62FAE4029A59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3" creationId="{ED89F336-4BEA-4C0D-8F17-74E1240A9038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4" creationId="{2867D0DC-A98D-485E-9B48-B550939BA2A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5" creationId="{20F13826-1658-42F1-904F-384B9186464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6" creationId="{E1984666-CC3C-4BAF-A1C3-5D3BEA45E35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7" creationId="{B2012D40-374F-43A6-A06B-6ED394DFA93F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8" creationId="{36C34AC6-6463-4DF4-B0F3-4D381DC1A4F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9" creationId="{8EB26390-F4CC-43F7-BC11-B9999A07DDA0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0" creationId="{C312CAA5-7D7C-474A-9701-6EF0914A6244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1" creationId="{BAF5D4EC-7B74-4F1E-B6CF-6B2EB899A7DE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2" creationId="{E1E7A93B-6099-40C5-9663-CACA3885B39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6" creationId="{32128900-A13D-4FA0-9EF3-1CE6C9EA1C5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8" creationId="{E2760D1B-B5A1-424A-8EFB-52943AAEA436}"/>
          </ac:spMkLst>
        </pc:spChg>
        <pc:spChg chg="mod">
          <ac:chgData name="Liu, Changsheng A." userId="877438ce-3489-4027-b8c0-4bd167ef53d0" providerId="ADAL" clId="{35AB68C3-AADD-4C6C-B90D-EE9085003035}" dt="2020-06-01T11:54:30.522" v="1780" actId="1037"/>
          <ac:spMkLst>
            <pc:docMk/>
            <pc:sldMk cId="2921799353" sldId="7074"/>
            <ac:spMk id="69" creationId="{5C141EF5-7E35-41E5-A919-CFA9081F511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2" creationId="{2AA5DAF8-DCEE-4FB4-903A-A5DE76111CFA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3" creationId="{CB23F596-D5BE-454E-B59B-1378CFC55C5E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4" creationId="{4AA14367-7A10-476F-9016-49A2BBEA799F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5" creationId="{BC02985C-7420-4986-B441-1AA4D0775D1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6" creationId="{17710159-EF59-48F8-B91B-8D2134F4FDE8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7" creationId="{30050CDE-A4DD-4DF7-AC94-99C0B4C9642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8" creationId="{BCC7604B-327C-413F-9DA2-2B112C3E7359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9" creationId="{3B0118A3-C45C-4EF2-9D15-7D5E3275D65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0" creationId="{5687D83A-6553-459A-B2AF-7C6D59655E9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1" creationId="{EB7133EF-8594-4403-A8F8-500F799473D1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2" creationId="{BBED5C99-389D-49D0-9DD0-A611CAB83AA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3" creationId="{7C624BD0-FD52-49EC-99AD-160153C5B3B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4" creationId="{16EB385F-196F-4CDA-88C5-119228B5A246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55" creationId="{6982A03D-8A4B-43BB-91E2-9159A662C013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3" creationId="{CA1BAFED-5DDC-47B0-BD1C-D57A40700217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4" creationId="{B4516EAE-17E2-4D0B-BB0B-D6B897412231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5" creationId="{91F95AEF-9785-4B46-A061-AB38A8446185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6" creationId="{97C91B7C-AE15-468F-AC9B-A9A2E55C20E1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7" creationId="{6B408180-4917-4DB9-AC94-8DEACB234430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9" creationId="{99A53870-5371-4C8A-A81D-276EE8EFBB7A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0" creationId="{E18C2752-AB71-4B8B-A535-FCA9A9E361FE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1" creationId="{7A9A740D-B213-46A1-AC27-9FD465A398A1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2" creationId="{7F0957FE-EBB4-4908-9598-0A31BD7571C7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3" creationId="{CFA64541-AEC5-4EA2-8A3D-0D45CD8687FF}"/>
          </ac:spMkLst>
        </pc:spChg>
        <pc:spChg chg="mod">
          <ac:chgData name="Liu, Changsheng A." userId="877438ce-3489-4027-b8c0-4bd167ef53d0" providerId="ADAL" clId="{35AB68C3-AADD-4C6C-B90D-EE9085003035}" dt="2020-06-01T11:49:25.762" v="1700" actId="255"/>
          <ac:spMkLst>
            <pc:docMk/>
            <pc:sldMk cId="2921799353" sldId="7074"/>
            <ac:spMk id="174" creationId="{92E56961-D660-475F-9B5B-B563A8DE9738}"/>
          </ac:spMkLst>
        </pc:spChg>
        <pc:spChg chg="mod ord">
          <ac:chgData name="Liu, Changsheng A." userId="877438ce-3489-4027-b8c0-4bd167ef53d0" providerId="ADAL" clId="{35AB68C3-AADD-4C6C-B90D-EE9085003035}" dt="2020-06-01T11:49:38.129" v="1702" actId="166"/>
          <ac:spMkLst>
            <pc:docMk/>
            <pc:sldMk cId="2921799353" sldId="7074"/>
            <ac:spMk id="175" creationId="{82DD84EE-4862-40E4-B96F-05774D7524F3}"/>
          </ac:spMkLst>
        </pc:spChg>
        <pc:spChg chg="mod">
          <ac:chgData name="Liu, Changsheng A." userId="877438ce-3489-4027-b8c0-4bd167ef53d0" providerId="ADAL" clId="{35AB68C3-AADD-4C6C-B90D-EE9085003035}" dt="2020-06-01T11:48:57.429" v="1697" actId="1076"/>
          <ac:spMkLst>
            <pc:docMk/>
            <pc:sldMk cId="2921799353" sldId="7074"/>
            <ac:spMk id="176" creationId="{FE8BBEC4-CC86-4720-9F7B-B3ED90B167B5}"/>
          </ac:spMkLst>
        </pc:spChg>
        <pc:grpChg chg="add mod">
          <ac:chgData name="Liu, Changsheng A." userId="877438ce-3489-4027-b8c0-4bd167ef53d0" providerId="ADAL" clId="{35AB68C3-AADD-4C6C-B90D-EE9085003035}" dt="2020-06-01T11:54:30.522" v="1780" actId="1037"/>
          <ac:grpSpMkLst>
            <pc:docMk/>
            <pc:sldMk cId="2921799353" sldId="7074"/>
            <ac:grpSpMk id="6" creationId="{073EFC90-D264-4C76-BA70-0382BC3C7385}"/>
          </ac:grpSpMkLst>
        </pc:grpChg>
        <pc:grpChg chg="add mod">
          <ac:chgData name="Liu, Changsheng A." userId="877438ce-3489-4027-b8c0-4bd167ef53d0" providerId="ADAL" clId="{35AB68C3-AADD-4C6C-B90D-EE9085003035}" dt="2020-06-01T11:54:16.544" v="1764" actId="1076"/>
          <ac:grpSpMkLst>
            <pc:docMk/>
            <pc:sldMk cId="2921799353" sldId="7074"/>
            <ac:grpSpMk id="7" creationId="{95545018-B45C-40BD-8AFE-BF6018B61921}"/>
          </ac:grpSpMkLst>
        </pc:grpChg>
        <pc:graphicFrameChg chg="mod">
          <ac:chgData name="Liu, Changsheng A." userId="877438ce-3489-4027-b8c0-4bd167ef53d0" providerId="ADAL" clId="{35AB68C3-AADD-4C6C-B90D-EE9085003035}" dt="2020-06-01T11:48:17.661" v="1692" actId="164"/>
          <ac:graphicFrameMkLst>
            <pc:docMk/>
            <pc:sldMk cId="2921799353" sldId="7074"/>
            <ac:graphicFrameMk id="3" creationId="{48812ECC-C370-4011-B626-AECE60B19270}"/>
          </ac:graphicFrameMkLst>
        </pc:graphicFrameChg>
        <pc:graphicFrameChg chg="mod modGraphic">
          <ac:chgData name="Liu, Changsheng A." userId="877438ce-3489-4027-b8c0-4bd167ef53d0" providerId="ADAL" clId="{35AB68C3-AADD-4C6C-B90D-EE9085003035}" dt="2020-06-01T11:54:30.522" v="1780" actId="1037"/>
          <ac:graphicFrameMkLst>
            <pc:docMk/>
            <pc:sldMk cId="2921799353" sldId="7074"/>
            <ac:graphicFrameMk id="4" creationId="{6155957B-9638-40C1-A9BC-BE1BC7C9E984}"/>
          </ac:graphicFrameMkLst>
        </pc:graphicFrameChg>
        <pc:cxnChg chg="mod">
          <ac:chgData name="Liu, Changsheng A." userId="877438ce-3489-4027-b8c0-4bd167ef53d0" providerId="ADAL" clId="{35AB68C3-AADD-4C6C-B90D-EE9085003035}" dt="2020-06-01T11:47:48.724" v="1689" actId="164"/>
          <ac:cxnSpMkLst>
            <pc:docMk/>
            <pc:sldMk cId="2921799353" sldId="7074"/>
            <ac:cxnSpMk id="64" creationId="{9B801E2D-BCCB-43A2-B462-A9E7A0ECD55F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6" creationId="{057354C6-0346-4CA3-A479-3477BEAE1DAB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7" creationId="{283245AB-D2A2-442F-AB6F-5C47867B2BDA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8" creationId="{55F60300-A651-44B0-9DF7-118B18A86167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9" creationId="{71E90A51-52B0-4AC3-82A9-35270E042A43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0" creationId="{5112B6FD-E24B-413E-98D1-F4B3771C9BCE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1" creationId="{0B4DB62A-5517-430A-94F5-0C22A7A10A28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2" creationId="{AFB8B8D4-EEE9-4B04-862C-D0A85B5AFA07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8" creationId="{4F63E910-D499-436F-B596-AEA1E239E922}"/>
          </ac:cxnSpMkLst>
        </pc:cxnChg>
      </pc:sldChg>
    </pc:docChg>
  </pc:docChgLst>
  <pc:docChgLst>
    <pc:chgData name="Liu, Changsheng A." userId="877438ce-3489-4027-b8c0-4bd167ef53d0" providerId="ADAL" clId="{43626957-3FDF-4338-9773-E2CB646F2E73}"/>
    <pc:docChg chg="undo custSel addSld delSld modSld">
      <pc:chgData name="Liu, Changsheng A." userId="877438ce-3489-4027-b8c0-4bd167ef53d0" providerId="ADAL" clId="{43626957-3FDF-4338-9773-E2CB646F2E73}" dt="2020-06-11T09:53:50.189" v="782"/>
      <pc:docMkLst>
        <pc:docMk/>
      </pc:docMkLst>
      <pc:sldChg chg="del">
        <pc:chgData name="Liu, Changsheng A." userId="877438ce-3489-4027-b8c0-4bd167ef53d0" providerId="ADAL" clId="{43626957-3FDF-4338-9773-E2CB646F2E73}" dt="2020-06-11T07:08:55.942" v="2" actId="2696"/>
        <pc:sldMkLst>
          <pc:docMk/>
          <pc:sldMk cId="2729856478" sldId="7072"/>
        </pc:sldMkLst>
      </pc:sldChg>
      <pc:sldChg chg="del">
        <pc:chgData name="Liu, Changsheng A." userId="877438ce-3489-4027-b8c0-4bd167ef53d0" providerId="ADAL" clId="{43626957-3FDF-4338-9773-E2CB646F2E73}" dt="2020-06-11T07:08:55.915" v="1" actId="2696"/>
        <pc:sldMkLst>
          <pc:docMk/>
          <pc:sldMk cId="2078933728" sldId="7073"/>
        </pc:sldMkLst>
      </pc:sldChg>
      <pc:sldChg chg="add del">
        <pc:chgData name="Liu, Changsheng A." userId="877438ce-3489-4027-b8c0-4bd167ef53d0" providerId="ADAL" clId="{43626957-3FDF-4338-9773-E2CB646F2E73}" dt="2020-06-11T07:09:12.525" v="3"/>
        <pc:sldMkLst>
          <pc:docMk/>
          <pc:sldMk cId="2921799353" sldId="7074"/>
        </pc:sldMkLst>
      </pc:sldChg>
      <pc:sldChg chg="addSp add del setBg">
        <pc:chgData name="Liu, Changsheng A." userId="877438ce-3489-4027-b8c0-4bd167ef53d0" providerId="ADAL" clId="{43626957-3FDF-4338-9773-E2CB646F2E73}" dt="2020-06-11T07:32:25.558" v="268" actId="2696"/>
        <pc:sldMkLst>
          <pc:docMk/>
          <pc:sldMk cId="575681290" sldId="7075"/>
        </pc:sldMkLst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5" creationId="{F0701908-CBFC-4134-A8E3-CE09C6C25834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14" creationId="{940884A0-4B08-448D-A126-3783BC781B82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15" creationId="{701A57F8-E2FC-45C7-8818-FB9EA902FFE6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28" creationId="{1868A752-447A-453C-AA31-704095FEEEB3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3" creationId="{28FF8E67-D3EF-4C27-8A14-144190A9B391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6" creationId="{7C9C0BF5-2750-4EAC-A4A7-B56359256F76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7" creationId="{69203C32-3F02-467A-B52D-E5253D2D2A38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9" creationId="{5EAB48C6-3E16-42D7-A343-1E1A5D146A6D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0" creationId="{0E144284-96CD-4441-9F87-BAC88691FB90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1" creationId="{9A5EC384-BBD7-4C24-B4D3-FCE353A07ED8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2" creationId="{0B8C9FAC-6CBA-440D-9A6A-C8DFFBCE59D0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3" creationId="{73D4CB4B-7A62-4FCD-A809-D114BB11327D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4" creationId="{1EB0274C-3BE8-4A78-A578-F866A61B5155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5" creationId="{A7BE1D04-41E6-47F7-818F-79BF36D68A7A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6" creationId="{1D72DA6B-78E4-4A76-83B9-CA65A1F9B6A5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7" creationId="{1D721B61-E056-4FF6-ADD9-894CC8A2FFAC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8" creationId="{37FB7D8C-8D5E-467C-BFAE-76466217E0B6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9" creationId="{757716AF-2D19-40C4-816F-67A81239678A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57" creationId="{ED538F36-41D5-46C5-B80E-43D2C7631BB1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59" creationId="{F6EDB7E2-D354-4F3F-BB1D-454F9D8EA864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60" creationId="{EF95A6CC-E2B9-42DD-B115-35F4E59D63AC}"/>
          </ac:spMkLst>
        </pc:spChg>
        <pc:grpChg chg="add">
          <ac:chgData name="Liu, Changsheng A." userId="877438ce-3489-4027-b8c0-4bd167ef53d0" providerId="ADAL" clId="{43626957-3FDF-4338-9773-E2CB646F2E73}" dt="2020-06-11T07:16:38.847" v="5"/>
          <ac:grpSpMkLst>
            <pc:docMk/>
            <pc:sldMk cId="575681290" sldId="7075"/>
            <ac:grpSpMk id="6" creationId="{ADB7C158-10B3-41D3-8FC2-1FE18285081B}"/>
          </ac:grpSpMkLst>
        </pc:grpChg>
        <pc:grpChg chg="add">
          <ac:chgData name="Liu, Changsheng A." userId="877438ce-3489-4027-b8c0-4bd167ef53d0" providerId="ADAL" clId="{43626957-3FDF-4338-9773-E2CB646F2E73}" dt="2020-06-11T07:16:38.847" v="5"/>
          <ac:grpSpMkLst>
            <pc:docMk/>
            <pc:sldMk cId="575681290" sldId="7075"/>
            <ac:grpSpMk id="16" creationId="{8772DD8F-775F-4970-8E85-CFA83FC253EE}"/>
          </ac:grpSpMkLst>
        </pc:grpChg>
        <pc:grpChg chg="add">
          <ac:chgData name="Liu, Changsheng A." userId="877438ce-3489-4027-b8c0-4bd167ef53d0" providerId="ADAL" clId="{43626957-3FDF-4338-9773-E2CB646F2E73}" dt="2020-06-11T07:16:38.847" v="5"/>
          <ac:grpSpMkLst>
            <pc:docMk/>
            <pc:sldMk cId="575681290" sldId="7075"/>
            <ac:grpSpMk id="68" creationId="{1986F090-9812-43EA-8CA4-8C9A4F6FA951}"/>
          </ac:grpSpMkLst>
        </pc:grp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29" creationId="{74A43789-43C0-447B-AD29-9E8CD9A91EE7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30" creationId="{05CE93A3-A226-4C5C-8A44-1B90C83BB244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31" creationId="{CA4FAE1D-8E59-456D-B8FD-6219E6093BDE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32" creationId="{C3F35774-2DD4-42EA-A87D-0D2C6C572200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0" creationId="{F7A79558-ACAA-41B8-AAC8-3A02FECCA113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1" creationId="{FBE1B37D-7074-4582-A1E5-B347EB9B9566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2" creationId="{D828E8D1-FF2C-41C6-86F6-4D01648BEBD1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3" creationId="{2220A3B8-73DB-4DBB-BFA8-CAC656A7B5C3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4" creationId="{175205FE-EBC3-47D6-81AE-3F7B1821FCCC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5" creationId="{8E5148F6-B447-48A3-B061-4489B371E7F4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6" creationId="{E083D0B6-0F57-4856-92DD-A438381E7954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8" creationId="{D15BE077-5FF3-4E9C-A00F-4D99F515A051}"/>
          </ac:picMkLst>
        </pc:pic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" creationId="{0A7FFA4C-D98D-4E51-9C8C-E9F6EB90EF3B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4" creationId="{D2EB6362-E776-4C41-8ECD-74F8736CA67E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4" creationId="{2C1E0322-031A-4F81-81C4-828D3E6D7697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5" creationId="{2FBF1DFC-ADFC-4A97-9646-8058329CFBE8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6" creationId="{112DC304-FA6A-4A80-8850-0DED2A01521A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7" creationId="{68E6D14A-771E-4FC4-BBA8-19588CE27668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4" creationId="{15860D7A-9617-4628-94F3-796E6D7DD301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5" creationId="{81509398-C54A-4A17-A715-CF8852981D6F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8" creationId="{445E4DC4-2AC4-436C-A749-61CC065BF879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1" creationId="{18CFD88E-E2C8-4D3F-AE3A-AFF420A297B8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2" creationId="{82B2AA9A-73CA-4AD9-A14A-1D2283F306CE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3" creationId="{3B5ACC99-2FF3-4158-8A18-6DC32555A3F9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4" creationId="{4E42C1B3-EDB2-467C-9964-8150DA68276C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5" creationId="{282A2B78-F978-4077-A617-87A86FD3457B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6" creationId="{AAD66898-867F-4EE5-8063-451A0820E221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7" creationId="{E04BF1D3-F4A5-457E-BA17-AFF348EF74F6}"/>
          </ac:cxnSpMkLst>
        </pc:cxnChg>
      </pc:sldChg>
      <pc:sldChg chg="addSp add del setBg">
        <pc:chgData name="Liu, Changsheng A." userId="877438ce-3489-4027-b8c0-4bd167ef53d0" providerId="ADAL" clId="{43626957-3FDF-4338-9773-E2CB646F2E73}" dt="2020-06-11T07:54:20.882" v="676" actId="2696"/>
        <pc:sldMkLst>
          <pc:docMk/>
          <pc:sldMk cId="1494503917" sldId="7076"/>
        </pc:sldMkLst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4" creationId="{3C5A1B2C-1376-4386-8DB4-41BE983845AD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6" creationId="{BF802F39-CA7D-41C7-8F2C-353FFCB58FCC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7" creationId="{84F43ADC-72B9-42CA-B09C-D35FC4B9AF43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9" creationId="{8E44E9D4-BD1D-4928-98FD-4CE24CD27955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0" creationId="{8159F735-D545-4689-8FBF-A1F916C845AD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1" creationId="{93616DBF-1697-4F1A-BA13-16E4B52A7572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2" creationId="{5638F75D-E3CD-461D-A082-B7AD1338E434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3" creationId="{6F4A5257-3CBA-426E-8240-E4F0E7B1F82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4" creationId="{D074293C-75BC-48CD-BF3D-A7734C32A87A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5" creationId="{14CBE16C-0A51-4DE2-ACD8-921785DDC72E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6" creationId="{2ED733EB-F8E9-4993-8140-2A0CD58581C0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7" creationId="{0913E8BF-D524-4DE7-A611-DF45646839A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8" creationId="{989B53E7-4791-4CB1-9796-B4AC0E2C3648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9" creationId="{589DF8DD-0D14-4DC8-B65C-C2694C06AB46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0" creationId="{273401D7-D0BF-4488-B4E6-09801BB48738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1" creationId="{B56068C7-491D-431A-A2B5-8AE88D1B8DB6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2" creationId="{501645EA-E194-4800-966C-E90245C069B2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5" creationId="{33B31101-B851-43B1-920E-48601A1926CC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6" creationId="{5D5F92DE-F653-4DDB-934A-1C4582535F8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7" creationId="{AFC9B064-4C15-4388-8CFC-8F4D4C991E9D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8" creationId="{B90DBE40-A22A-4780-8DB9-9E7B322AEAFF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9" creationId="{1E125916-6F1E-42B5-A7AD-25178A6CE9E8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0" creationId="{925A5D41-A57F-4D49-A067-92982A376EBE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1" creationId="{BBDCFC52-94AE-4966-A1BE-7E7DA435F05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2" creationId="{536212E7-0529-4C35-A8D9-8C56929BA7C6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3" creationId="{BD3AA00E-FD23-421B-A5A5-D54AA1A9DAF0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4" creationId="{F4101044-C5B9-4B19-9B28-E74D5DCC4EFE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5" creationId="{6388B644-A776-4537-A4E1-2EC8AAE7D3FA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6" creationId="{61D52798-FE1E-40ED-86CF-08950A8600A9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7" creationId="{4205A323-6818-41FB-82E9-6644C6CD4A69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8" creationId="{7A95E349-8E6E-497B-BEC0-9A4D41D58FC5}"/>
          </ac:spMkLst>
        </pc:spChg>
        <pc:graphicFrameChg chg="add">
          <ac:chgData name="Liu, Changsheng A." userId="877438ce-3489-4027-b8c0-4bd167ef53d0" providerId="ADAL" clId="{43626957-3FDF-4338-9773-E2CB646F2E73}" dt="2020-06-11T07:18:15.365" v="10"/>
          <ac:graphicFrameMkLst>
            <pc:docMk/>
            <pc:sldMk cId="1494503917" sldId="7076"/>
            <ac:graphicFrameMk id="3" creationId="{C71E8881-7B97-4C6B-A483-2057DA9625AF}"/>
          </ac:graphicFrameMkLst>
        </pc:graphicFrameChg>
        <pc:graphicFrameChg chg="add">
          <ac:chgData name="Liu, Changsheng A." userId="877438ce-3489-4027-b8c0-4bd167ef53d0" providerId="ADAL" clId="{43626957-3FDF-4338-9773-E2CB646F2E73}" dt="2020-06-11T07:18:15.365" v="10"/>
          <ac:graphicFrameMkLst>
            <pc:docMk/>
            <pc:sldMk cId="1494503917" sldId="7076"/>
            <ac:graphicFrameMk id="8" creationId="{8EE27308-5348-4102-B1BF-66473B4DF300}"/>
          </ac:graphicFrameMkLst>
        </pc:graphicFrameChg>
        <pc:picChg chg="add">
          <ac:chgData name="Liu, Changsheng A." userId="877438ce-3489-4027-b8c0-4bd167ef53d0" providerId="ADAL" clId="{43626957-3FDF-4338-9773-E2CB646F2E73}" dt="2020-06-11T07:18:15.365" v="10"/>
          <ac:picMkLst>
            <pc:docMk/>
            <pc:sldMk cId="1494503917" sldId="7076"/>
            <ac:picMk id="23" creationId="{357E54AE-07AB-45A8-B66F-36164B665E4F}"/>
          </ac:picMkLst>
        </pc:picChg>
        <pc:picChg chg="add">
          <ac:chgData name="Liu, Changsheng A." userId="877438ce-3489-4027-b8c0-4bd167ef53d0" providerId="ADAL" clId="{43626957-3FDF-4338-9773-E2CB646F2E73}" dt="2020-06-11T07:18:15.365" v="10"/>
          <ac:picMkLst>
            <pc:docMk/>
            <pc:sldMk cId="1494503917" sldId="7076"/>
            <ac:picMk id="24" creationId="{5CA4007E-5CAB-495F-A5FC-5B0622811FFF}"/>
          </ac:picMkLst>
        </pc:picChg>
        <pc:cxnChg chg="add">
          <ac:chgData name="Liu, Changsheng A." userId="877438ce-3489-4027-b8c0-4bd167ef53d0" providerId="ADAL" clId="{43626957-3FDF-4338-9773-E2CB646F2E73}" dt="2020-06-11T07:18:15.365" v="10"/>
          <ac:cxnSpMkLst>
            <pc:docMk/>
            <pc:sldMk cId="1494503917" sldId="7076"/>
            <ac:cxnSpMk id="5" creationId="{BF534743-2647-46FC-8BBE-9FA92E9A5725}"/>
          </ac:cxnSpMkLst>
        </pc:cxnChg>
      </pc:sldChg>
      <pc:sldChg chg="addSp delSp modSp add setBg">
        <pc:chgData name="Liu, Changsheng A." userId="877438ce-3489-4027-b8c0-4bd167ef53d0" providerId="ADAL" clId="{43626957-3FDF-4338-9773-E2CB646F2E73}" dt="2020-06-11T09:53:50.189" v="782"/>
        <pc:sldMkLst>
          <pc:docMk/>
          <pc:sldMk cId="1963802781" sldId="7077"/>
        </pc:sldMkLst>
        <pc:spChg chg="mod">
          <ac:chgData name="Liu, Changsheng A." userId="877438ce-3489-4027-b8c0-4bd167ef53d0" providerId="ADAL" clId="{43626957-3FDF-4338-9773-E2CB646F2E73}" dt="2020-06-11T07:54:33.599" v="684" actId="20577"/>
          <ac:spMkLst>
            <pc:docMk/>
            <pc:sldMk cId="1963802781" sldId="7077"/>
            <ac:spMk id="2" creationId="{38FB791C-77A4-4792-8B80-0DC4E39DB192}"/>
          </ac:spMkLst>
        </pc:spChg>
        <pc:spChg chg="add">
          <ac:chgData name="Liu, Changsheng A." userId="877438ce-3489-4027-b8c0-4bd167ef53d0" providerId="ADAL" clId="{43626957-3FDF-4338-9773-E2CB646F2E73}" dt="2020-06-11T07:19:24.296" v="13"/>
          <ac:spMkLst>
            <pc:docMk/>
            <pc:sldMk cId="1963802781" sldId="7077"/>
            <ac:spMk id="4" creationId="{A3F46D79-1009-4BAA-B7F4-C9FF9DD753D5}"/>
          </ac:spMkLst>
        </pc:spChg>
        <pc:spChg chg="add mod">
          <ac:chgData name="Liu, Changsheng A." userId="877438ce-3489-4027-b8c0-4bd167ef53d0" providerId="ADAL" clId="{43626957-3FDF-4338-9773-E2CB646F2E73}" dt="2020-06-11T07:27:26.213" v="212" actId="1076"/>
          <ac:spMkLst>
            <pc:docMk/>
            <pc:sldMk cId="1963802781" sldId="7077"/>
            <ac:spMk id="5" creationId="{5525C3E1-C803-4D61-889D-6196984AEA1D}"/>
          </ac:spMkLst>
        </pc:spChg>
        <pc:spChg chg="add mod">
          <ac:chgData name="Liu, Changsheng A." userId="877438ce-3489-4027-b8c0-4bd167ef53d0" providerId="ADAL" clId="{43626957-3FDF-4338-9773-E2CB646F2E73}" dt="2020-06-11T09:53:50.189" v="782"/>
          <ac:spMkLst>
            <pc:docMk/>
            <pc:sldMk cId="1963802781" sldId="7077"/>
            <ac:spMk id="6" creationId="{6F4A8D67-84CB-462E-8BD6-60AD28FC9323}"/>
          </ac:spMkLst>
        </pc:spChg>
        <pc:spChg chg="add mod">
          <ac:chgData name="Liu, Changsheng A." userId="877438ce-3489-4027-b8c0-4bd167ef53d0" providerId="ADAL" clId="{43626957-3FDF-4338-9773-E2CB646F2E73}" dt="2020-06-11T07:55:46.956" v="760"/>
          <ac:spMkLst>
            <pc:docMk/>
            <pc:sldMk cId="1963802781" sldId="7077"/>
            <ac:spMk id="7" creationId="{76CB2933-FBB7-4DA1-9B49-A4DDE2D2DBF1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8" creationId="{17B2A71C-9982-49A1-8874-AF97C02E780F}"/>
          </ac:spMkLst>
        </pc:spChg>
        <pc:spChg chg="add del">
          <ac:chgData name="Liu, Changsheng A." userId="877438ce-3489-4027-b8c0-4bd167ef53d0" providerId="ADAL" clId="{43626957-3FDF-4338-9773-E2CB646F2E73}" dt="2020-06-11T07:26:13.625" v="174" actId="478"/>
          <ac:spMkLst>
            <pc:docMk/>
            <pc:sldMk cId="1963802781" sldId="7077"/>
            <ac:spMk id="9" creationId="{46B53ACC-DE2D-4988-986C-EE209EB12F6B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0" creationId="{87C493DA-008F-4D49-BF7C-D43E2238B7FB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1" creationId="{E54E5B04-D4AB-4049-9CF7-C2E59975C88B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2" creationId="{704183BB-D8A6-4C0C-9E96-8800BF6DBCE7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3" creationId="{8AB2F1C0-9866-4DAA-B309-A5F30BE9330A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4" creationId="{1091F1E9-A152-40B2-BE89-70C6D6457B28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5" creationId="{E101949D-C12F-4FA0-AB41-833AB5D36A36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6" creationId="{D8C283BA-9822-4882-8F58-EAD647179D6F}"/>
          </ac:spMkLst>
        </pc:spChg>
        <pc:spChg chg="add del">
          <ac:chgData name="Liu, Changsheng A." userId="877438ce-3489-4027-b8c0-4bd167ef53d0" providerId="ADAL" clId="{43626957-3FDF-4338-9773-E2CB646F2E73}" dt="2020-06-11T07:26:08.735" v="170" actId="478"/>
          <ac:spMkLst>
            <pc:docMk/>
            <pc:sldMk cId="1963802781" sldId="7077"/>
            <ac:spMk id="18" creationId="{3F4D27C4-EBC6-4BD6-884D-3DC65186CE40}"/>
          </ac:spMkLst>
        </pc:spChg>
        <pc:spChg chg="add del">
          <ac:chgData name="Liu, Changsheng A." userId="877438ce-3489-4027-b8c0-4bd167ef53d0" providerId="ADAL" clId="{43626957-3FDF-4338-9773-E2CB646F2E73}" dt="2020-06-11T07:26:09.959" v="171" actId="478"/>
          <ac:spMkLst>
            <pc:docMk/>
            <pc:sldMk cId="1963802781" sldId="7077"/>
            <ac:spMk id="19" creationId="{2220B308-188E-4C08-8365-84B4AB16B37E}"/>
          </ac:spMkLst>
        </pc:spChg>
        <pc:spChg chg="add del mod">
          <ac:chgData name="Liu, Changsheng A." userId="877438ce-3489-4027-b8c0-4bd167ef53d0" providerId="ADAL" clId="{43626957-3FDF-4338-9773-E2CB646F2E73}" dt="2020-06-11T07:26:12.702" v="173" actId="478"/>
          <ac:spMkLst>
            <pc:docMk/>
            <pc:sldMk cId="1963802781" sldId="7077"/>
            <ac:spMk id="20" creationId="{DC504E92-0535-45EA-9024-DE54327D5292}"/>
          </ac:spMkLst>
        </pc:spChg>
        <pc:spChg chg="add del">
          <ac:chgData name="Liu, Changsheng A." userId="877438ce-3489-4027-b8c0-4bd167ef53d0" providerId="ADAL" clId="{43626957-3FDF-4338-9773-E2CB646F2E73}" dt="2020-06-11T07:23:53.578" v="123" actId="478"/>
          <ac:spMkLst>
            <pc:docMk/>
            <pc:sldMk cId="1963802781" sldId="7077"/>
            <ac:spMk id="21" creationId="{71A91A21-E823-4636-B414-9F736C001D0E}"/>
          </ac:spMkLst>
        </pc:spChg>
        <pc:spChg chg="add mod">
          <ac:chgData name="Liu, Changsheng A." userId="877438ce-3489-4027-b8c0-4bd167ef53d0" providerId="ADAL" clId="{43626957-3FDF-4338-9773-E2CB646F2E73}" dt="2020-06-11T07:41:24.971" v="413" actId="207"/>
          <ac:spMkLst>
            <pc:docMk/>
            <pc:sldMk cId="1963802781" sldId="7077"/>
            <ac:spMk id="22" creationId="{230F3929-EF5F-485A-85DE-1373EFE787EC}"/>
          </ac:spMkLst>
        </pc:spChg>
        <pc:spChg chg="add mod">
          <ac:chgData name="Liu, Changsheng A." userId="877438ce-3489-4027-b8c0-4bd167ef53d0" providerId="ADAL" clId="{43626957-3FDF-4338-9773-E2CB646F2E73}" dt="2020-06-11T07:43:18.058" v="448" actId="14100"/>
          <ac:spMkLst>
            <pc:docMk/>
            <pc:sldMk cId="1963802781" sldId="7077"/>
            <ac:spMk id="23" creationId="{BDB7E80B-5DC9-4B0E-9C82-CAC19B2E2138}"/>
          </ac:spMkLst>
        </pc:spChg>
        <pc:spChg chg="add mod">
          <ac:chgData name="Liu, Changsheng A." userId="877438ce-3489-4027-b8c0-4bd167ef53d0" providerId="ADAL" clId="{43626957-3FDF-4338-9773-E2CB646F2E73}" dt="2020-06-11T07:45:02.148" v="505" actId="14100"/>
          <ac:spMkLst>
            <pc:docMk/>
            <pc:sldMk cId="1963802781" sldId="7077"/>
            <ac:spMk id="24" creationId="{27F73309-13A6-498E-B3F5-2AECBAF92920}"/>
          </ac:spMkLst>
        </pc:spChg>
        <pc:spChg chg="add mod">
          <ac:chgData name="Liu, Changsheng A." userId="877438ce-3489-4027-b8c0-4bd167ef53d0" providerId="ADAL" clId="{43626957-3FDF-4338-9773-E2CB646F2E73}" dt="2020-06-11T07:42:47.302" v="422" actId="554"/>
          <ac:spMkLst>
            <pc:docMk/>
            <pc:sldMk cId="1963802781" sldId="7077"/>
            <ac:spMk id="25" creationId="{64EFA189-370A-4D0D-9951-6AFF89599543}"/>
          </ac:spMkLst>
        </pc:spChg>
        <pc:spChg chg="add mod">
          <ac:chgData name="Liu, Changsheng A." userId="877438ce-3489-4027-b8c0-4bd167ef53d0" providerId="ADAL" clId="{43626957-3FDF-4338-9773-E2CB646F2E73}" dt="2020-06-11T07:45:49.819" v="523" actId="1076"/>
          <ac:spMkLst>
            <pc:docMk/>
            <pc:sldMk cId="1963802781" sldId="7077"/>
            <ac:spMk id="26" creationId="{4B4211D6-84D1-47A3-83EF-2C384DBFC12B}"/>
          </ac:spMkLst>
        </pc:spChg>
        <pc:spChg chg="add mod">
          <ac:chgData name="Liu, Changsheng A." userId="877438ce-3489-4027-b8c0-4bd167ef53d0" providerId="ADAL" clId="{43626957-3FDF-4338-9773-E2CB646F2E73}" dt="2020-06-11T07:42:47.302" v="422" actId="554"/>
          <ac:spMkLst>
            <pc:docMk/>
            <pc:sldMk cId="1963802781" sldId="7077"/>
            <ac:spMk id="27" creationId="{90A56C42-821D-4613-BB32-EB9E88996F71}"/>
          </ac:spMkLst>
        </pc:spChg>
        <pc:spChg chg="add mod">
          <ac:chgData name="Liu, Changsheng A." userId="877438ce-3489-4027-b8c0-4bd167ef53d0" providerId="ADAL" clId="{43626957-3FDF-4338-9773-E2CB646F2E73}" dt="2020-06-11T07:42:47.302" v="422" actId="554"/>
          <ac:spMkLst>
            <pc:docMk/>
            <pc:sldMk cId="1963802781" sldId="7077"/>
            <ac:spMk id="28" creationId="{A3B33F57-A7A1-41F1-8370-E8985CCFA070}"/>
          </ac:spMkLst>
        </pc:spChg>
        <pc:spChg chg="add mod">
          <ac:chgData name="Liu, Changsheng A." userId="877438ce-3489-4027-b8c0-4bd167ef53d0" providerId="ADAL" clId="{43626957-3FDF-4338-9773-E2CB646F2E73}" dt="2020-06-11T07:42:37.777" v="421" actId="1036"/>
          <ac:spMkLst>
            <pc:docMk/>
            <pc:sldMk cId="1963802781" sldId="7077"/>
            <ac:spMk id="29" creationId="{9CBFA52D-831D-4011-945A-29F03EEA8FAA}"/>
          </ac:spMkLst>
        </pc:spChg>
        <pc:spChg chg="add mod">
          <ac:chgData name="Liu, Changsheng A." userId="877438ce-3489-4027-b8c0-4bd167ef53d0" providerId="ADAL" clId="{43626957-3FDF-4338-9773-E2CB646F2E73}" dt="2020-06-11T07:45:13.668" v="522"/>
          <ac:spMkLst>
            <pc:docMk/>
            <pc:sldMk cId="1963802781" sldId="7077"/>
            <ac:spMk id="30" creationId="{67FA830F-D02D-4577-B29A-86E2937D39D7}"/>
          </ac:spMkLst>
        </pc:spChg>
        <pc:spChg chg="add mod">
          <ac:chgData name="Liu, Changsheng A." userId="877438ce-3489-4027-b8c0-4bd167ef53d0" providerId="ADAL" clId="{43626957-3FDF-4338-9773-E2CB646F2E73}" dt="2020-06-11T07:45:54.935" v="525" actId="571"/>
          <ac:spMkLst>
            <pc:docMk/>
            <pc:sldMk cId="1963802781" sldId="7077"/>
            <ac:spMk id="31" creationId="{4D772C6D-8158-4ECD-8E2B-FCDAD75DEC9D}"/>
          </ac:spMkLst>
        </pc:spChg>
        <pc:spChg chg="add mod">
          <ac:chgData name="Liu, Changsheng A." userId="877438ce-3489-4027-b8c0-4bd167ef53d0" providerId="ADAL" clId="{43626957-3FDF-4338-9773-E2CB646F2E73}" dt="2020-06-11T07:45:54.935" v="525" actId="571"/>
          <ac:spMkLst>
            <pc:docMk/>
            <pc:sldMk cId="1963802781" sldId="7077"/>
            <ac:spMk id="32" creationId="{B8FCA839-469D-498B-85BA-5E55BAFF2CC8}"/>
          </ac:spMkLst>
        </pc:spChg>
        <pc:spChg chg="add mod">
          <ac:chgData name="Liu, Changsheng A." userId="877438ce-3489-4027-b8c0-4bd167ef53d0" providerId="ADAL" clId="{43626957-3FDF-4338-9773-E2CB646F2E73}" dt="2020-06-11T07:48:16.966" v="621" actId="20577"/>
          <ac:spMkLst>
            <pc:docMk/>
            <pc:sldMk cId="1963802781" sldId="7077"/>
            <ac:spMk id="33" creationId="{95E9A7E3-E0C8-4F1D-BD93-98C5FCA9DEC4}"/>
          </ac:spMkLst>
        </pc:spChg>
        <pc:spChg chg="add mod">
          <ac:chgData name="Liu, Changsheng A." userId="877438ce-3489-4027-b8c0-4bd167ef53d0" providerId="ADAL" clId="{43626957-3FDF-4338-9773-E2CB646F2E73}" dt="2020-06-11T07:48:13.328" v="620" actId="2711"/>
          <ac:spMkLst>
            <pc:docMk/>
            <pc:sldMk cId="1963802781" sldId="7077"/>
            <ac:spMk id="34" creationId="{F4067DA3-2BE3-4272-A8C5-5F471E809BF0}"/>
          </ac:spMkLst>
        </pc:spChg>
        <pc:spChg chg="add mod">
          <ac:chgData name="Liu, Changsheng A." userId="877438ce-3489-4027-b8c0-4bd167ef53d0" providerId="ADAL" clId="{43626957-3FDF-4338-9773-E2CB646F2E73}" dt="2020-06-11T07:48:13.328" v="620" actId="2711"/>
          <ac:spMkLst>
            <pc:docMk/>
            <pc:sldMk cId="1963802781" sldId="7077"/>
            <ac:spMk id="35" creationId="{533B1302-28A1-4834-BF54-147EA84214E7}"/>
          </ac:spMkLst>
        </pc:spChg>
        <pc:spChg chg="add mod">
          <ac:chgData name="Liu, Changsheng A." userId="877438ce-3489-4027-b8c0-4bd167ef53d0" providerId="ADAL" clId="{43626957-3FDF-4338-9773-E2CB646F2E73}" dt="2020-06-11T07:53:56.077" v="665" actId="1076"/>
          <ac:spMkLst>
            <pc:docMk/>
            <pc:sldMk cId="1963802781" sldId="7077"/>
            <ac:spMk id="36" creationId="{512DE871-182D-4DF0-AEE9-D255F3ECF4F7}"/>
          </ac:spMkLst>
        </pc:spChg>
        <pc:graphicFrameChg chg="add mod modGraphic">
          <ac:chgData name="Liu, Changsheng A." userId="877438ce-3489-4027-b8c0-4bd167ef53d0" providerId="ADAL" clId="{43626957-3FDF-4338-9773-E2CB646F2E73}" dt="2020-06-11T07:39:00.972" v="378"/>
          <ac:graphicFrameMkLst>
            <pc:docMk/>
            <pc:sldMk cId="1963802781" sldId="7077"/>
            <ac:graphicFrameMk id="3" creationId="{6E3757C8-D0BF-493A-AB89-2F03F07BD880}"/>
          </ac:graphicFrameMkLst>
        </pc:graphicFrameChg>
        <pc:graphicFrameChg chg="add mod modGraphic">
          <ac:chgData name="Liu, Changsheng A." userId="877438ce-3489-4027-b8c0-4bd167ef53d0" providerId="ADAL" clId="{43626957-3FDF-4338-9773-E2CB646F2E73}" dt="2020-06-11T07:54:53.799" v="723" actId="20577"/>
          <ac:graphicFrameMkLst>
            <pc:docMk/>
            <pc:sldMk cId="1963802781" sldId="7077"/>
            <ac:graphicFrameMk id="17" creationId="{5668586B-9742-4C55-87CF-0CBBFEFF1FC4}"/>
          </ac:graphicFrameMkLst>
        </pc:graphicFrameChg>
      </pc:sldChg>
    </pc:docChg>
  </pc:docChgLst>
  <pc:docChgLst>
    <pc:chgData name="Liu, Changsheng A." userId="877438ce-3489-4027-b8c0-4bd167ef53d0" providerId="ADAL" clId="{9D4D2B09-BA73-40DC-BD03-39B4694EDC98}"/>
    <pc:docChg chg="undo custSel addSld modSld sldOrd">
      <pc:chgData name="Liu, Changsheng A." userId="877438ce-3489-4027-b8c0-4bd167ef53d0" providerId="ADAL" clId="{9D4D2B09-BA73-40DC-BD03-39B4694EDC98}" dt="2020-07-17T10:38:55.111" v="1387" actId="14100"/>
      <pc:docMkLst>
        <pc:docMk/>
      </pc:docMkLst>
      <pc:sldChg chg="ord">
        <pc:chgData name="Liu, Changsheng A." userId="877438ce-3489-4027-b8c0-4bd167ef53d0" providerId="ADAL" clId="{9D4D2B09-BA73-40DC-BD03-39B4694EDC98}" dt="2020-07-02T07:06:24.069" v="593"/>
        <pc:sldMkLst>
          <pc:docMk/>
          <pc:sldMk cId="3845467195" sldId="7063"/>
        </pc:sldMkLst>
      </pc:sldChg>
      <pc:sldChg chg="ord">
        <pc:chgData name="Liu, Changsheng A." userId="877438ce-3489-4027-b8c0-4bd167ef53d0" providerId="ADAL" clId="{9D4D2B09-BA73-40DC-BD03-39B4694EDC98}" dt="2020-07-02T07:06:24.069" v="593"/>
        <pc:sldMkLst>
          <pc:docMk/>
          <pc:sldMk cId="165121068" sldId="7067"/>
        </pc:sldMkLst>
      </pc:sldChg>
      <pc:sldChg chg="addSp modSp">
        <pc:chgData name="Liu, Changsheng A." userId="877438ce-3489-4027-b8c0-4bd167ef53d0" providerId="ADAL" clId="{9D4D2B09-BA73-40DC-BD03-39B4694EDC98}" dt="2020-07-02T05:19:45.977" v="18" actId="692"/>
        <pc:sldMkLst>
          <pc:docMk/>
          <pc:sldMk cId="2921799353" sldId="7074"/>
        </pc:sldMkLst>
        <pc:spChg chg="add mod">
          <ac:chgData name="Liu, Changsheng A." userId="877438ce-3489-4027-b8c0-4bd167ef53d0" providerId="ADAL" clId="{9D4D2B09-BA73-40DC-BD03-39B4694EDC98}" dt="2020-07-02T05:18:29.721" v="17" actId="113"/>
          <ac:spMkLst>
            <pc:docMk/>
            <pc:sldMk cId="2921799353" sldId="7074"/>
            <ac:spMk id="8" creationId="{BB9D340E-374D-44B3-BCFA-0D819E46CB01}"/>
          </ac:spMkLst>
        </pc:spChg>
        <pc:cxnChg chg="mod">
          <ac:chgData name="Liu, Changsheng A." userId="877438ce-3489-4027-b8c0-4bd167ef53d0" providerId="ADAL" clId="{9D4D2B09-BA73-40DC-BD03-39B4694EDC98}" dt="2020-07-02T05:19:45.977" v="18" actId="692"/>
          <ac:cxnSpMkLst>
            <pc:docMk/>
            <pc:sldMk cId="2921799353" sldId="7074"/>
            <ac:cxnSpMk id="168" creationId="{4F63E910-D499-436F-B596-AEA1E239E922}"/>
          </ac:cxnSpMkLst>
        </pc:cxnChg>
      </pc:sldChg>
      <pc:sldChg chg="addSp delSp modSp">
        <pc:chgData name="Liu, Changsheng A." userId="877438ce-3489-4027-b8c0-4bd167ef53d0" providerId="ADAL" clId="{9D4D2B09-BA73-40DC-BD03-39B4694EDC98}" dt="2020-07-17T10:38:55.111" v="1387" actId="14100"/>
        <pc:sldMkLst>
          <pc:docMk/>
          <pc:sldMk cId="1963802781" sldId="7077"/>
        </pc:sldMkLst>
        <pc:spChg chg="mod">
          <ac:chgData name="Liu, Changsheng A." userId="877438ce-3489-4027-b8c0-4bd167ef53d0" providerId="ADAL" clId="{9D4D2B09-BA73-40DC-BD03-39B4694EDC98}" dt="2020-07-17T10:29:07.714" v="1310" actId="14100"/>
          <ac:spMkLst>
            <pc:docMk/>
            <pc:sldMk cId="1963802781" sldId="7077"/>
            <ac:spMk id="23" creationId="{BDB7E80B-5DC9-4B0E-9C82-CAC19B2E2138}"/>
          </ac:spMkLst>
        </pc:spChg>
        <pc:spChg chg="mod">
          <ac:chgData name="Liu, Changsheng A." userId="877438ce-3489-4027-b8c0-4bd167ef53d0" providerId="ADAL" clId="{9D4D2B09-BA73-40DC-BD03-39B4694EDC98}" dt="2020-07-17T10:38:55.111" v="1387" actId="14100"/>
          <ac:spMkLst>
            <pc:docMk/>
            <pc:sldMk cId="1963802781" sldId="7077"/>
            <ac:spMk id="29" creationId="{9CBFA52D-831D-4011-945A-29F03EEA8FAA}"/>
          </ac:spMkLst>
        </pc:spChg>
        <pc:spChg chg="add del mod">
          <ac:chgData name="Liu, Changsheng A." userId="877438ce-3489-4027-b8c0-4bd167ef53d0" providerId="ADAL" clId="{9D4D2B09-BA73-40DC-BD03-39B4694EDC98}" dt="2020-07-17T10:22:13.480" v="1221" actId="478"/>
          <ac:spMkLst>
            <pc:docMk/>
            <pc:sldMk cId="1963802781" sldId="7077"/>
            <ac:spMk id="31" creationId="{E5698B44-5AF9-43F9-836D-75887826D43C}"/>
          </ac:spMkLst>
        </pc:spChg>
        <pc:spChg chg="add mod">
          <ac:chgData name="Liu, Changsheng A." userId="877438ce-3489-4027-b8c0-4bd167ef53d0" providerId="ADAL" clId="{9D4D2B09-BA73-40DC-BD03-39B4694EDC98}" dt="2020-07-17T10:22:59.513" v="1268"/>
          <ac:spMkLst>
            <pc:docMk/>
            <pc:sldMk cId="1963802781" sldId="7077"/>
            <ac:spMk id="32" creationId="{FE66B504-08E5-4717-A614-F1B6119ADAF2}"/>
          </ac:spMkLst>
        </pc:spChg>
        <pc:spChg chg="add mod">
          <ac:chgData name="Liu, Changsheng A." userId="877438ce-3489-4027-b8c0-4bd167ef53d0" providerId="ADAL" clId="{9D4D2B09-BA73-40DC-BD03-39B4694EDC98}" dt="2020-07-17T10:30:52.498" v="1386"/>
          <ac:spMkLst>
            <pc:docMk/>
            <pc:sldMk cId="1963802781" sldId="7077"/>
            <ac:spMk id="37" creationId="{391C335C-7AC6-472D-934C-B4B8970CB023}"/>
          </ac:spMkLst>
        </pc:spChg>
      </pc:sldChg>
      <pc:sldChg chg="addSp delSp modSp add ord">
        <pc:chgData name="Liu, Changsheng A." userId="877438ce-3489-4027-b8c0-4bd167ef53d0" providerId="ADAL" clId="{9D4D2B09-BA73-40DC-BD03-39B4694EDC98}" dt="2020-07-17T10:25:15.941" v="1306" actId="207"/>
        <pc:sldMkLst>
          <pc:docMk/>
          <pc:sldMk cId="2382691227" sldId="7078"/>
        </pc:sldMkLst>
        <pc:spChg chg="mod">
          <ac:chgData name="Liu, Changsheng A." userId="877438ce-3489-4027-b8c0-4bd167ef53d0" providerId="ADAL" clId="{9D4D2B09-BA73-40DC-BD03-39B4694EDC98}" dt="2020-07-02T05:21:49.236" v="34"/>
          <ac:spMkLst>
            <pc:docMk/>
            <pc:sldMk cId="2382691227" sldId="7078"/>
            <ac:spMk id="2" creationId="{181887AC-1E0B-4269-89DB-CE4A0D5F5100}"/>
          </ac:spMkLst>
        </pc:spChg>
        <pc:spChg chg="add mod">
          <ac:chgData name="Liu, Changsheng A." userId="877438ce-3489-4027-b8c0-4bd167ef53d0" providerId="ADAL" clId="{9D4D2B09-BA73-40DC-BD03-39B4694EDC98}" dt="2020-07-17T10:05:19.297" v="1060" actId="1036"/>
          <ac:spMkLst>
            <pc:docMk/>
            <pc:sldMk cId="2382691227" sldId="7078"/>
            <ac:spMk id="13" creationId="{FF5FA3B4-46E7-489B-B51B-CE6EF5AFA030}"/>
          </ac:spMkLst>
        </pc:spChg>
        <pc:spChg chg="add del mod">
          <ac:chgData name="Liu, Changsheng A." userId="877438ce-3489-4027-b8c0-4bd167ef53d0" providerId="ADAL" clId="{9D4D2B09-BA73-40DC-BD03-39B4694EDC98}" dt="2020-07-02T08:08:59.038" v="936" actId="14100"/>
          <ac:spMkLst>
            <pc:docMk/>
            <pc:sldMk cId="2382691227" sldId="7078"/>
            <ac:spMk id="16" creationId="{737E61A4-7DC6-436C-9CB9-16F6C1A3BFC5}"/>
          </ac:spMkLst>
        </pc:spChg>
        <pc:spChg chg="add del mod">
          <ac:chgData name="Liu, Changsheng A." userId="877438ce-3489-4027-b8c0-4bd167ef53d0" providerId="ADAL" clId="{9D4D2B09-BA73-40DC-BD03-39B4694EDC98}" dt="2020-07-02T08:09:01.964" v="937" actId="14100"/>
          <ac:spMkLst>
            <pc:docMk/>
            <pc:sldMk cId="2382691227" sldId="7078"/>
            <ac:spMk id="17" creationId="{7FC9D176-8821-45EE-8C90-83C4A77C4178}"/>
          </ac:spMkLst>
        </pc:spChg>
        <pc:spChg chg="add del mod">
          <ac:chgData name="Liu, Changsheng A." userId="877438ce-3489-4027-b8c0-4bd167ef53d0" providerId="ADAL" clId="{9D4D2B09-BA73-40DC-BD03-39B4694EDC98}" dt="2020-07-17T10:25:15.941" v="1306" actId="207"/>
          <ac:spMkLst>
            <pc:docMk/>
            <pc:sldMk cId="2382691227" sldId="7078"/>
            <ac:spMk id="18" creationId="{24100EB1-5814-4C9F-A13C-6EE7B11CB589}"/>
          </ac:spMkLst>
        </pc:spChg>
        <pc:spChg chg="add mod">
          <ac:chgData name="Liu, Changsheng A." userId="877438ce-3489-4027-b8c0-4bd167ef53d0" providerId="ADAL" clId="{9D4D2B09-BA73-40DC-BD03-39B4694EDC98}" dt="2020-07-02T05:26:37.058" v="95" actId="571"/>
          <ac:spMkLst>
            <pc:docMk/>
            <pc:sldMk cId="2382691227" sldId="7078"/>
            <ac:spMk id="19" creationId="{CD21AB8E-E753-4F94-81D4-E11B5A700BE4}"/>
          </ac:spMkLst>
        </pc:spChg>
        <pc:spChg chg="add mod">
          <ac:chgData name="Liu, Changsheng A." userId="877438ce-3489-4027-b8c0-4bd167ef53d0" providerId="ADAL" clId="{9D4D2B09-BA73-40DC-BD03-39B4694EDC98}" dt="2020-07-02T05:26:37.058" v="95" actId="571"/>
          <ac:spMkLst>
            <pc:docMk/>
            <pc:sldMk cId="2382691227" sldId="7078"/>
            <ac:spMk id="21" creationId="{DF6043E9-D329-4DAB-86F2-BF6E7404B03D}"/>
          </ac:spMkLst>
        </pc:spChg>
        <pc:spChg chg="del">
          <ac:chgData name="Liu, Changsheng A." userId="877438ce-3489-4027-b8c0-4bd167ef53d0" providerId="ADAL" clId="{9D4D2B09-BA73-40DC-BD03-39B4694EDC98}" dt="2020-07-02T05:22:57.849" v="38" actId="478"/>
          <ac:spMkLst>
            <pc:docMk/>
            <pc:sldMk cId="2382691227" sldId="7078"/>
            <ac:spMk id="22" creationId="{1BC8CDB4-7ADA-4C4B-8363-9F3846719647}"/>
          </ac:spMkLst>
        </pc:spChg>
        <pc:spChg chg="add del mod">
          <ac:chgData name="Liu, Changsheng A." userId="877438ce-3489-4027-b8c0-4bd167ef53d0" providerId="ADAL" clId="{9D4D2B09-BA73-40DC-BD03-39B4694EDC98}" dt="2020-07-02T07:04:01.037" v="588" actId="1076"/>
          <ac:spMkLst>
            <pc:docMk/>
            <pc:sldMk cId="2382691227" sldId="7078"/>
            <ac:spMk id="23" creationId="{CB055D03-5E0B-402C-9EE4-5CD68C7BFA2B}"/>
          </ac:spMkLst>
        </pc:spChg>
        <pc:spChg chg="add mod">
          <ac:chgData name="Liu, Changsheng A." userId="877438ce-3489-4027-b8c0-4bd167ef53d0" providerId="ADAL" clId="{9D4D2B09-BA73-40DC-BD03-39B4694EDC98}" dt="2020-07-02T07:04:01.037" v="588" actId="1076"/>
          <ac:spMkLst>
            <pc:docMk/>
            <pc:sldMk cId="2382691227" sldId="7078"/>
            <ac:spMk id="24" creationId="{41B1751F-88A7-44FF-BE8F-7C4F64B13ED8}"/>
          </ac:spMkLst>
        </pc:spChg>
        <pc:spChg chg="add del mod">
          <ac:chgData name="Liu, Changsheng A." userId="877438ce-3489-4027-b8c0-4bd167ef53d0" providerId="ADAL" clId="{9D4D2B09-BA73-40DC-BD03-39B4694EDC98}" dt="2020-07-02T06:12:46.281" v="437" actId="478"/>
          <ac:spMkLst>
            <pc:docMk/>
            <pc:sldMk cId="2382691227" sldId="7078"/>
            <ac:spMk id="25" creationId="{ACFF1439-DD6D-4CAB-99A3-7E9377221E61}"/>
          </ac:spMkLst>
        </pc:spChg>
        <pc:spChg chg="add del mod">
          <ac:chgData name="Liu, Changsheng A." userId="877438ce-3489-4027-b8c0-4bd167ef53d0" providerId="ADAL" clId="{9D4D2B09-BA73-40DC-BD03-39B4694EDC98}" dt="2020-07-02T07:04:31.435" v="591" actId="478"/>
          <ac:spMkLst>
            <pc:docMk/>
            <pc:sldMk cId="2382691227" sldId="7078"/>
            <ac:spMk id="26" creationId="{FB4E4EBB-FB02-4474-BB97-D0BD4F2C677B}"/>
          </ac:spMkLst>
        </pc:spChg>
        <pc:spChg chg="add del mod">
          <ac:chgData name="Liu, Changsheng A." userId="877438ce-3489-4027-b8c0-4bd167ef53d0" providerId="ADAL" clId="{9D4D2B09-BA73-40DC-BD03-39B4694EDC98}" dt="2020-07-02T07:04:31.435" v="591" actId="478"/>
          <ac:spMkLst>
            <pc:docMk/>
            <pc:sldMk cId="2382691227" sldId="7078"/>
            <ac:spMk id="27" creationId="{1B6E27E1-A568-405A-85A6-E1121FFE5B61}"/>
          </ac:spMkLst>
        </pc:spChg>
        <pc:spChg chg="add del mod">
          <ac:chgData name="Liu, Changsheng A." userId="877438ce-3489-4027-b8c0-4bd167ef53d0" providerId="ADAL" clId="{9D4D2B09-BA73-40DC-BD03-39B4694EDC98}" dt="2020-07-02T07:04:31.435" v="591" actId="478"/>
          <ac:spMkLst>
            <pc:docMk/>
            <pc:sldMk cId="2382691227" sldId="7078"/>
            <ac:spMk id="29" creationId="{0CB285A9-8EDE-4C10-8E57-F2CCD8EA3917}"/>
          </ac:spMkLst>
        </pc:spChg>
        <pc:spChg chg="add mod">
          <ac:chgData name="Liu, Changsheng A." userId="877438ce-3489-4027-b8c0-4bd167ef53d0" providerId="ADAL" clId="{9D4D2B09-BA73-40DC-BD03-39B4694EDC98}" dt="2020-07-08T05:16:00.273" v="973" actId="6549"/>
          <ac:spMkLst>
            <pc:docMk/>
            <pc:sldMk cId="2382691227" sldId="7078"/>
            <ac:spMk id="30" creationId="{2ED8572C-1FFD-4B83-8E11-CAD0E0F2E38E}"/>
          </ac:spMkLst>
        </pc:spChg>
        <pc:spChg chg="add mod">
          <ac:chgData name="Liu, Changsheng A." userId="877438ce-3489-4027-b8c0-4bd167ef53d0" providerId="ADAL" clId="{9D4D2B09-BA73-40DC-BD03-39B4694EDC98}" dt="2020-07-02T07:04:01.037" v="588" actId="1076"/>
          <ac:spMkLst>
            <pc:docMk/>
            <pc:sldMk cId="2382691227" sldId="7078"/>
            <ac:spMk id="31" creationId="{DDAA71DB-68EF-47D8-BD23-A1FB40876046}"/>
          </ac:spMkLst>
        </pc:spChg>
        <pc:spChg chg="add mod">
          <ac:chgData name="Liu, Changsheng A." userId="877438ce-3489-4027-b8c0-4bd167ef53d0" providerId="ADAL" clId="{9D4D2B09-BA73-40DC-BD03-39B4694EDC98}" dt="2020-07-02T07:24:21.953" v="792"/>
          <ac:spMkLst>
            <pc:docMk/>
            <pc:sldMk cId="2382691227" sldId="7078"/>
            <ac:spMk id="32" creationId="{46366D03-99AF-4D33-B8C1-AE83DB3EE1C5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35" creationId="{C3C44451-7C67-4D4E-B517-D00C37671E64}"/>
          </ac:spMkLst>
        </pc:spChg>
        <pc:spChg chg="del">
          <ac:chgData name="Liu, Changsheng A." userId="877438ce-3489-4027-b8c0-4bd167ef53d0" providerId="ADAL" clId="{9D4D2B09-BA73-40DC-BD03-39B4694EDC98}" dt="2020-07-02T05:23:01.816" v="39" actId="478"/>
          <ac:spMkLst>
            <pc:docMk/>
            <pc:sldMk cId="2382691227" sldId="7078"/>
            <ac:spMk id="38" creationId="{E5BE6181-5BFF-48B4-A5DA-9B28A41551EA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39" creationId="{B011E368-CE85-4597-BF63-47A059753C57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43" creationId="{A13B6453-AE75-4183-8D7F-35361F374FFC}"/>
          </ac:spMkLst>
        </pc:spChg>
        <pc:spChg chg="del">
          <ac:chgData name="Liu, Changsheng A." userId="877438ce-3489-4027-b8c0-4bd167ef53d0" providerId="ADAL" clId="{9D4D2B09-BA73-40DC-BD03-39B4694EDC98}" dt="2020-07-02T05:23:03.294" v="40" actId="478"/>
          <ac:spMkLst>
            <pc:docMk/>
            <pc:sldMk cId="2382691227" sldId="7078"/>
            <ac:spMk id="44" creationId="{BFE19D3F-0EC7-4992-9E7D-813FE4EE0DAC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45" creationId="{0F6A8B7D-51C7-496B-84CE-7BD91E3DA63C}"/>
          </ac:spMkLst>
        </pc:spChg>
        <pc:spChg chg="del mod">
          <ac:chgData name="Liu, Changsheng A." userId="877438ce-3489-4027-b8c0-4bd167ef53d0" providerId="ADAL" clId="{9D4D2B09-BA73-40DC-BD03-39B4694EDC98}" dt="2020-07-02T05:46:45.115" v="122" actId="478"/>
          <ac:spMkLst>
            <pc:docMk/>
            <pc:sldMk cId="2382691227" sldId="7078"/>
            <ac:spMk id="47" creationId="{8EB576FE-0D47-4B7B-BAAA-5DF0AF683253}"/>
          </ac:spMkLst>
        </pc:spChg>
        <pc:spChg chg="del mod">
          <ac:chgData name="Liu, Changsheng A." userId="877438ce-3489-4027-b8c0-4bd167ef53d0" providerId="ADAL" clId="{9D4D2B09-BA73-40DC-BD03-39B4694EDC98}" dt="2020-07-02T05:23:12.428" v="44" actId="478"/>
          <ac:spMkLst>
            <pc:docMk/>
            <pc:sldMk cId="2382691227" sldId="7078"/>
            <ac:spMk id="48" creationId="{F020CEA1-2978-4EDC-AD10-18B8AF904D92}"/>
          </ac:spMkLst>
        </pc:spChg>
        <pc:graphicFrameChg chg="add mod modGraphic">
          <ac:chgData name="Liu, Changsheng A." userId="877438ce-3489-4027-b8c0-4bd167ef53d0" providerId="ADAL" clId="{9D4D2B09-BA73-40DC-BD03-39B4694EDC98}" dt="2020-07-17T10:09:01.489" v="1090"/>
          <ac:graphicFrameMkLst>
            <pc:docMk/>
            <pc:sldMk cId="2382691227" sldId="7078"/>
            <ac:graphicFrameMk id="3" creationId="{D41FE0B8-1A4A-41F7-8E33-672D79355672}"/>
          </ac:graphicFrameMkLst>
        </pc:graphicFrameChg>
        <pc:graphicFrameChg chg="add mod modGraphic">
          <ac:chgData name="Liu, Changsheng A." userId="877438ce-3489-4027-b8c0-4bd167ef53d0" providerId="ADAL" clId="{9D4D2B09-BA73-40DC-BD03-39B4694EDC98}" dt="2020-07-17T10:04:25.328" v="1050"/>
          <ac:graphicFrameMkLst>
            <pc:docMk/>
            <pc:sldMk cId="2382691227" sldId="7078"/>
            <ac:graphicFrameMk id="4" creationId="{170FE5E5-5901-48B2-824E-EB8DEC2D219B}"/>
          </ac:graphicFrameMkLst>
        </pc:graphicFrameChg>
        <pc:cxnChg chg="del">
          <ac:chgData name="Liu, Changsheng A." userId="877438ce-3489-4027-b8c0-4bd167ef53d0" providerId="ADAL" clId="{9D4D2B09-BA73-40DC-BD03-39B4694EDC98}" dt="2020-07-02T05:22:57.216" v="37" actId="478"/>
          <ac:cxnSpMkLst>
            <pc:docMk/>
            <pc:sldMk cId="2382691227" sldId="7078"/>
            <ac:cxnSpMk id="20" creationId="{6A8324A2-93D5-4B92-9206-DAF6951D4546}"/>
          </ac:cxnSpMkLst>
        </pc:cxnChg>
        <pc:cxnChg chg="del">
          <ac:chgData name="Liu, Changsheng A." userId="877438ce-3489-4027-b8c0-4bd167ef53d0" providerId="ADAL" clId="{9D4D2B09-BA73-40DC-BD03-39B4694EDC98}" dt="2020-07-02T05:22:54.978" v="36" actId="478"/>
          <ac:cxnSpMkLst>
            <pc:docMk/>
            <pc:sldMk cId="2382691227" sldId="7078"/>
            <ac:cxnSpMk id="28" creationId="{18F4DCC5-5ED2-4BE2-90FF-5F1E55F35860}"/>
          </ac:cxnSpMkLst>
        </pc:cxnChg>
        <pc:cxnChg chg="del">
          <ac:chgData name="Liu, Changsheng A." userId="877438ce-3489-4027-b8c0-4bd167ef53d0" providerId="ADAL" clId="{9D4D2B09-BA73-40DC-BD03-39B4694EDC98}" dt="2020-07-02T05:22:53.987" v="35" actId="478"/>
          <ac:cxnSpMkLst>
            <pc:docMk/>
            <pc:sldMk cId="2382691227" sldId="7078"/>
            <ac:cxnSpMk id="34" creationId="{458FA223-42BB-4AA6-884A-B10BE0D7D586}"/>
          </ac:cxnSpMkLst>
        </pc:cxnChg>
        <pc:cxnChg chg="del">
          <ac:chgData name="Liu, Changsheng A." userId="877438ce-3489-4027-b8c0-4bd167ef53d0" providerId="ADAL" clId="{9D4D2B09-BA73-40DC-BD03-39B4694EDC98}" dt="2020-07-02T05:22:53.987" v="35" actId="478"/>
          <ac:cxnSpMkLst>
            <pc:docMk/>
            <pc:sldMk cId="2382691227" sldId="7078"/>
            <ac:cxnSpMk id="42" creationId="{9798D2BA-9420-4D74-9267-5023893D2254}"/>
          </ac:cxnSpMkLst>
        </pc:cxnChg>
      </pc:sldChg>
    </pc:docChg>
  </pc:docChgLst>
  <pc:docChgLst>
    <pc:chgData name="Liu, Changsheng A." userId="877438ce-3489-4027-b8c0-4bd167ef53d0" providerId="ADAL" clId="{B51DBBEF-7555-4725-A5F0-73A615F7185A}"/>
    <pc:docChg chg="custSel delSld modSld">
      <pc:chgData name="Liu, Changsheng A." userId="877438ce-3489-4027-b8c0-4bd167ef53d0" providerId="ADAL" clId="{B51DBBEF-7555-4725-A5F0-73A615F7185A}" dt="2020-11-05T11:47:04.749" v="54" actId="20577"/>
      <pc:docMkLst>
        <pc:docMk/>
      </pc:docMkLst>
      <pc:sldChg chg="modSp">
        <pc:chgData name="Liu, Changsheng A." userId="877438ce-3489-4027-b8c0-4bd167ef53d0" providerId="ADAL" clId="{B51DBBEF-7555-4725-A5F0-73A615F7185A}" dt="2020-11-05T11:47:04.749" v="54" actId="20577"/>
        <pc:sldMkLst>
          <pc:docMk/>
          <pc:sldMk cId="4223846881" sldId="1131"/>
        </pc:sldMkLst>
        <pc:spChg chg="mod">
          <ac:chgData name="Liu, Changsheng A." userId="877438ce-3489-4027-b8c0-4bd167ef53d0" providerId="ADAL" clId="{B51DBBEF-7555-4725-A5F0-73A615F7185A}" dt="2020-11-05T11:47:04.749" v="54" actId="20577"/>
          <ac:spMkLst>
            <pc:docMk/>
            <pc:sldMk cId="4223846881" sldId="1131"/>
            <ac:spMk id="2" creationId="{F646565C-9A64-4E38-80BD-76362657862A}"/>
          </ac:spMkLst>
        </pc:spChg>
      </pc:sldChg>
      <pc:sldChg chg="del">
        <pc:chgData name="Liu, Changsheng A." userId="877438ce-3489-4027-b8c0-4bd167ef53d0" providerId="ADAL" clId="{B51DBBEF-7555-4725-A5F0-73A615F7185A}" dt="2020-11-05T11:45:15.421" v="3" actId="2696"/>
        <pc:sldMkLst>
          <pc:docMk/>
          <pc:sldMk cId="3392562427" sldId="7060"/>
        </pc:sldMkLst>
      </pc:sldChg>
      <pc:sldChg chg="delSp modSp">
        <pc:chgData name="Liu, Changsheng A." userId="877438ce-3489-4027-b8c0-4bd167ef53d0" providerId="ADAL" clId="{B51DBBEF-7555-4725-A5F0-73A615F7185A}" dt="2020-11-05T11:45:29.292" v="7" actId="20577"/>
        <pc:sldMkLst>
          <pc:docMk/>
          <pc:sldMk cId="2921799353" sldId="7074"/>
        </pc:sldMkLst>
        <pc:spChg chg="mod">
          <ac:chgData name="Liu, Changsheng A." userId="877438ce-3489-4027-b8c0-4bd167ef53d0" providerId="ADAL" clId="{B51DBBEF-7555-4725-A5F0-73A615F7185A}" dt="2020-11-05T11:45:29.292" v="7" actId="20577"/>
          <ac:spMkLst>
            <pc:docMk/>
            <pc:sldMk cId="2921799353" sldId="7074"/>
            <ac:spMk id="2" creationId="{181887AC-1E0B-4269-89DB-CE4A0D5F5100}"/>
          </ac:spMkLst>
        </pc:spChg>
        <pc:spChg chg="del">
          <ac:chgData name="Liu, Changsheng A." userId="877438ce-3489-4027-b8c0-4bd167ef53d0" providerId="ADAL" clId="{B51DBBEF-7555-4725-A5F0-73A615F7185A}" dt="2020-11-05T11:45:21.803" v="4" actId="478"/>
          <ac:spMkLst>
            <pc:docMk/>
            <pc:sldMk cId="2921799353" sldId="7074"/>
            <ac:spMk id="9" creationId="{5946505D-127E-488A-A5BF-9682CD656660}"/>
          </ac:spMkLst>
        </pc:spChg>
        <pc:spChg chg="del">
          <ac:chgData name="Liu, Changsheng A." userId="877438ce-3489-4027-b8c0-4bd167ef53d0" providerId="ADAL" clId="{B51DBBEF-7555-4725-A5F0-73A615F7185A}" dt="2020-11-05T11:45:26.661" v="5" actId="478"/>
          <ac:spMkLst>
            <pc:docMk/>
            <pc:sldMk cId="2921799353" sldId="7074"/>
            <ac:spMk id="10" creationId="{4D9B5909-B820-4B3C-8F02-83CB81D8980F}"/>
          </ac:spMkLst>
        </pc:spChg>
        <pc:spChg chg="del">
          <ac:chgData name="Liu, Changsheng A." userId="877438ce-3489-4027-b8c0-4bd167ef53d0" providerId="ADAL" clId="{B51DBBEF-7555-4725-A5F0-73A615F7185A}" dt="2020-11-05T11:45:26.661" v="5" actId="478"/>
          <ac:spMkLst>
            <pc:docMk/>
            <pc:sldMk cId="2921799353" sldId="7074"/>
            <ac:spMk id="69" creationId="{5C141EF5-7E35-41E5-A919-CFA9081F5113}"/>
          </ac:spMkLst>
        </pc:spChg>
        <pc:grpChg chg="del">
          <ac:chgData name="Liu, Changsheng A." userId="877438ce-3489-4027-b8c0-4bd167ef53d0" providerId="ADAL" clId="{B51DBBEF-7555-4725-A5F0-73A615F7185A}" dt="2020-11-05T11:45:26.661" v="5" actId="478"/>
          <ac:grpSpMkLst>
            <pc:docMk/>
            <pc:sldMk cId="2921799353" sldId="7074"/>
            <ac:grpSpMk id="6" creationId="{073EFC90-D264-4C76-BA70-0382BC3C7385}"/>
          </ac:grpSpMkLst>
        </pc:grpChg>
        <pc:grpChg chg="del">
          <ac:chgData name="Liu, Changsheng A." userId="877438ce-3489-4027-b8c0-4bd167ef53d0" providerId="ADAL" clId="{B51DBBEF-7555-4725-A5F0-73A615F7185A}" dt="2020-11-05T11:45:21.803" v="4" actId="478"/>
          <ac:grpSpMkLst>
            <pc:docMk/>
            <pc:sldMk cId="2921799353" sldId="7074"/>
            <ac:grpSpMk id="7" creationId="{95545018-B45C-40BD-8AFE-BF6018B61921}"/>
          </ac:grpSpMkLst>
        </pc:grpChg>
        <pc:graphicFrameChg chg="del">
          <ac:chgData name="Liu, Changsheng A." userId="877438ce-3489-4027-b8c0-4bd167ef53d0" providerId="ADAL" clId="{B51DBBEF-7555-4725-A5F0-73A615F7185A}" dt="2020-11-05T11:45:26.661" v="5" actId="478"/>
          <ac:graphicFrameMkLst>
            <pc:docMk/>
            <pc:sldMk cId="2921799353" sldId="7074"/>
            <ac:graphicFrameMk id="4" creationId="{6155957B-9638-40C1-A9BC-BE1BC7C9E984}"/>
          </ac:graphicFrameMkLst>
        </pc:graphicFrameChg>
      </pc:sldChg>
      <pc:sldChg chg="del">
        <pc:chgData name="Liu, Changsheng A." userId="877438ce-3489-4027-b8c0-4bd167ef53d0" providerId="ADAL" clId="{B51DBBEF-7555-4725-A5F0-73A615F7185A}" dt="2020-11-05T11:45:15.363" v="1" actId="2696"/>
        <pc:sldMkLst>
          <pc:docMk/>
          <pc:sldMk cId="2507160028" sldId="7079"/>
        </pc:sldMkLst>
      </pc:sldChg>
      <pc:sldChg chg="del">
        <pc:chgData name="Liu, Changsheng A." userId="877438ce-3489-4027-b8c0-4bd167ef53d0" providerId="ADAL" clId="{B51DBBEF-7555-4725-A5F0-73A615F7185A}" dt="2020-11-05T11:45:15.374" v="2" actId="2696"/>
        <pc:sldMkLst>
          <pc:docMk/>
          <pc:sldMk cId="153927648" sldId="7082"/>
        </pc:sldMkLst>
      </pc:sldChg>
      <pc:sldChg chg="del">
        <pc:chgData name="Liu, Changsheng A." userId="877438ce-3489-4027-b8c0-4bd167ef53d0" providerId="ADAL" clId="{B51DBBEF-7555-4725-A5F0-73A615F7185A}" dt="2020-11-05T11:45:15.351" v="0" actId="2696"/>
        <pc:sldMkLst>
          <pc:docMk/>
          <pc:sldMk cId="893485740" sldId="7084"/>
        </pc:sldMkLst>
      </pc:sldChg>
    </pc:docChg>
  </pc:docChgLst>
  <pc:docChgLst>
    <pc:chgData name="Liu, Changsheng A." userId="877438ce-3489-4027-b8c0-4bd167ef53d0" providerId="ADAL" clId="{45459D4C-9B00-420B-BA5B-7FB89E3193BE}"/>
    <pc:docChg chg="delSld">
      <pc:chgData name="Liu, Changsheng A." userId="877438ce-3489-4027-b8c0-4bd167ef53d0" providerId="ADAL" clId="{45459D4C-9B00-420B-BA5B-7FB89E3193BE}" dt="2020-05-28T03:39:31.192" v="80" actId="2696"/>
      <pc:docMkLst>
        <pc:docMk/>
      </pc:docMkLst>
      <pc:sldChg chg="del">
        <pc:chgData name="Liu, Changsheng A." userId="877438ce-3489-4027-b8c0-4bd167ef53d0" providerId="ADAL" clId="{45459D4C-9B00-420B-BA5B-7FB89E3193BE}" dt="2020-05-28T03:38:13.463" v="6" actId="2696"/>
        <pc:sldMkLst>
          <pc:docMk/>
          <pc:sldMk cId="3249907288" sldId="296"/>
        </pc:sldMkLst>
      </pc:sldChg>
      <pc:sldChg chg="del">
        <pc:chgData name="Liu, Changsheng A." userId="877438ce-3489-4027-b8c0-4bd167ef53d0" providerId="ADAL" clId="{45459D4C-9B00-420B-BA5B-7FB89E3193BE}" dt="2020-05-28T03:38:15.731" v="71" actId="2696"/>
        <pc:sldMkLst>
          <pc:docMk/>
          <pc:sldMk cId="1421067302" sldId="389"/>
        </pc:sldMkLst>
      </pc:sldChg>
      <pc:sldChg chg="del">
        <pc:chgData name="Liu, Changsheng A." userId="877438ce-3489-4027-b8c0-4bd167ef53d0" providerId="ADAL" clId="{45459D4C-9B00-420B-BA5B-7FB89E3193BE}" dt="2020-05-28T03:38:15.269" v="62" actId="2696"/>
        <pc:sldMkLst>
          <pc:docMk/>
          <pc:sldMk cId="1896084310" sldId="390"/>
        </pc:sldMkLst>
      </pc:sldChg>
      <pc:sldChg chg="del">
        <pc:chgData name="Liu, Changsheng A." userId="877438ce-3489-4027-b8c0-4bd167ef53d0" providerId="ADAL" clId="{45459D4C-9B00-420B-BA5B-7FB89E3193BE}" dt="2020-05-28T03:38:14.121" v="27" actId="2696"/>
        <pc:sldMkLst>
          <pc:docMk/>
          <pc:sldMk cId="1136526552" sldId="588"/>
        </pc:sldMkLst>
      </pc:sldChg>
      <pc:sldChg chg="del">
        <pc:chgData name="Liu, Changsheng A." userId="877438ce-3489-4027-b8c0-4bd167ef53d0" providerId="ADAL" clId="{45459D4C-9B00-420B-BA5B-7FB89E3193BE}" dt="2020-05-28T03:38:14.844" v="54" actId="2696"/>
        <pc:sldMkLst>
          <pc:docMk/>
          <pc:sldMk cId="3042652598" sldId="604"/>
        </pc:sldMkLst>
      </pc:sldChg>
      <pc:sldChg chg="del">
        <pc:chgData name="Liu, Changsheng A." userId="877438ce-3489-4027-b8c0-4bd167ef53d0" providerId="ADAL" clId="{45459D4C-9B00-420B-BA5B-7FB89E3193BE}" dt="2020-05-28T03:38:13.506" v="8" actId="2696"/>
        <pc:sldMkLst>
          <pc:docMk/>
          <pc:sldMk cId="3863362939" sldId="3383"/>
        </pc:sldMkLst>
      </pc:sldChg>
      <pc:sldChg chg="del">
        <pc:chgData name="Liu, Changsheng A." userId="877438ce-3489-4027-b8c0-4bd167ef53d0" providerId="ADAL" clId="{45459D4C-9B00-420B-BA5B-7FB89E3193BE}" dt="2020-05-28T03:38:14.985" v="55" actId="2696"/>
        <pc:sldMkLst>
          <pc:docMk/>
          <pc:sldMk cId="3683744064" sldId="3410"/>
        </pc:sldMkLst>
      </pc:sldChg>
      <pc:sldChg chg="del">
        <pc:chgData name="Liu, Changsheng A." userId="877438ce-3489-4027-b8c0-4bd167ef53d0" providerId="ADAL" clId="{45459D4C-9B00-420B-BA5B-7FB89E3193BE}" dt="2020-05-28T03:38:14.143" v="28" actId="2696"/>
        <pc:sldMkLst>
          <pc:docMk/>
          <pc:sldMk cId="3807872672" sldId="4047"/>
        </pc:sldMkLst>
      </pc:sldChg>
      <pc:sldChg chg="del">
        <pc:chgData name="Liu, Changsheng A." userId="877438ce-3489-4027-b8c0-4bd167ef53d0" providerId="ADAL" clId="{45459D4C-9B00-420B-BA5B-7FB89E3193BE}" dt="2020-05-28T03:38:13.380" v="2" actId="2696"/>
        <pc:sldMkLst>
          <pc:docMk/>
          <pc:sldMk cId="2914444066" sldId="4048"/>
        </pc:sldMkLst>
      </pc:sldChg>
      <pc:sldChg chg="del">
        <pc:chgData name="Liu, Changsheng A." userId="877438ce-3489-4027-b8c0-4bd167ef53d0" providerId="ADAL" clId="{45459D4C-9B00-420B-BA5B-7FB89E3193BE}" dt="2020-05-28T03:38:14.200" v="31" actId="2696"/>
        <pc:sldMkLst>
          <pc:docMk/>
          <pc:sldMk cId="1429656019" sldId="4049"/>
        </pc:sldMkLst>
      </pc:sldChg>
      <pc:sldChg chg="del">
        <pc:chgData name="Liu, Changsheng A." userId="877438ce-3489-4027-b8c0-4bd167ef53d0" providerId="ADAL" clId="{45459D4C-9B00-420B-BA5B-7FB89E3193BE}" dt="2020-05-28T03:38:13.395" v="3" actId="2696"/>
        <pc:sldMkLst>
          <pc:docMk/>
          <pc:sldMk cId="3781117744" sldId="4052"/>
        </pc:sldMkLst>
      </pc:sldChg>
      <pc:sldChg chg="del">
        <pc:chgData name="Liu, Changsheng A." userId="877438ce-3489-4027-b8c0-4bd167ef53d0" providerId="ADAL" clId="{45459D4C-9B00-420B-BA5B-7FB89E3193BE}" dt="2020-05-28T03:38:14.041" v="26" actId="2696"/>
        <pc:sldMkLst>
          <pc:docMk/>
          <pc:sldMk cId="1007065505" sldId="4054"/>
        </pc:sldMkLst>
      </pc:sldChg>
      <pc:sldChg chg="del">
        <pc:chgData name="Liu, Changsheng A." userId="877438ce-3489-4027-b8c0-4bd167ef53d0" providerId="ADAL" clId="{45459D4C-9B00-420B-BA5B-7FB89E3193BE}" dt="2020-05-28T03:38:14.429" v="40" actId="2696"/>
        <pc:sldMkLst>
          <pc:docMk/>
          <pc:sldMk cId="771654666" sldId="4061"/>
        </pc:sldMkLst>
      </pc:sldChg>
      <pc:sldChg chg="del">
        <pc:chgData name="Liu, Changsheng A." userId="877438ce-3489-4027-b8c0-4bd167ef53d0" providerId="ADAL" clId="{45459D4C-9B00-420B-BA5B-7FB89E3193BE}" dt="2020-05-28T03:38:13.594" v="10" actId="2696"/>
        <pc:sldMkLst>
          <pc:docMk/>
          <pc:sldMk cId="108206653" sldId="4065"/>
        </pc:sldMkLst>
      </pc:sldChg>
      <pc:sldChg chg="del">
        <pc:chgData name="Liu, Changsheng A." userId="877438ce-3489-4027-b8c0-4bd167ef53d0" providerId="ADAL" clId="{45459D4C-9B00-420B-BA5B-7FB89E3193BE}" dt="2020-05-28T03:38:13.683" v="12" actId="2696"/>
        <pc:sldMkLst>
          <pc:docMk/>
          <pc:sldMk cId="3547493500" sldId="4068"/>
        </pc:sldMkLst>
      </pc:sldChg>
      <pc:sldChg chg="del">
        <pc:chgData name="Liu, Changsheng A." userId="877438ce-3489-4027-b8c0-4bd167ef53d0" providerId="ADAL" clId="{45459D4C-9B00-420B-BA5B-7FB89E3193BE}" dt="2020-05-28T03:38:14.390" v="38" actId="2696"/>
        <pc:sldMkLst>
          <pc:docMk/>
          <pc:sldMk cId="230333378" sldId="4090"/>
        </pc:sldMkLst>
      </pc:sldChg>
      <pc:sldChg chg="del">
        <pc:chgData name="Liu, Changsheng A." userId="877438ce-3489-4027-b8c0-4bd167ef53d0" providerId="ADAL" clId="{45459D4C-9B00-420B-BA5B-7FB89E3193BE}" dt="2020-05-28T03:38:13.752" v="15" actId="2696"/>
        <pc:sldMkLst>
          <pc:docMk/>
          <pc:sldMk cId="2692085471" sldId="4097"/>
        </pc:sldMkLst>
      </pc:sldChg>
      <pc:sldChg chg="del">
        <pc:chgData name="Liu, Changsheng A." userId="877438ce-3489-4027-b8c0-4bd167ef53d0" providerId="ADAL" clId="{45459D4C-9B00-420B-BA5B-7FB89E3193BE}" dt="2020-05-28T03:38:14.285" v="35" actId="2696"/>
        <pc:sldMkLst>
          <pc:docMk/>
          <pc:sldMk cId="1067965130" sldId="4104"/>
        </pc:sldMkLst>
      </pc:sldChg>
      <pc:sldChg chg="del">
        <pc:chgData name="Liu, Changsheng A." userId="877438ce-3489-4027-b8c0-4bd167ef53d0" providerId="ADAL" clId="{45459D4C-9B00-420B-BA5B-7FB89E3193BE}" dt="2020-05-28T03:38:13.961" v="22" actId="2696"/>
        <pc:sldMkLst>
          <pc:docMk/>
          <pc:sldMk cId="2056868361" sldId="4107"/>
        </pc:sldMkLst>
      </pc:sldChg>
      <pc:sldChg chg="del">
        <pc:chgData name="Liu, Changsheng A." userId="877438ce-3489-4027-b8c0-4bd167ef53d0" providerId="ADAL" clId="{45459D4C-9B00-420B-BA5B-7FB89E3193BE}" dt="2020-05-28T03:38:13.934" v="21" actId="2696"/>
        <pc:sldMkLst>
          <pc:docMk/>
          <pc:sldMk cId="1608429953" sldId="4110"/>
        </pc:sldMkLst>
      </pc:sldChg>
      <pc:sldChg chg="del">
        <pc:chgData name="Liu, Changsheng A." userId="877438ce-3489-4027-b8c0-4bd167ef53d0" providerId="ADAL" clId="{45459D4C-9B00-420B-BA5B-7FB89E3193BE}" dt="2020-05-28T03:38:13.525" v="9" actId="2696"/>
        <pc:sldMkLst>
          <pc:docMk/>
          <pc:sldMk cId="4023684869" sldId="4114"/>
        </pc:sldMkLst>
      </pc:sldChg>
      <pc:sldChg chg="del">
        <pc:chgData name="Liu, Changsheng A." userId="877438ce-3489-4027-b8c0-4bd167ef53d0" providerId="ADAL" clId="{45459D4C-9B00-420B-BA5B-7FB89E3193BE}" dt="2020-05-28T03:38:14.361" v="37" actId="2696"/>
        <pc:sldMkLst>
          <pc:docMk/>
          <pc:sldMk cId="3839810782" sldId="4115"/>
        </pc:sldMkLst>
      </pc:sldChg>
      <pc:sldChg chg="del">
        <pc:chgData name="Liu, Changsheng A." userId="877438ce-3489-4027-b8c0-4bd167ef53d0" providerId="ADAL" clId="{45459D4C-9B00-420B-BA5B-7FB89E3193BE}" dt="2020-05-28T03:38:14.176" v="30" actId="2696"/>
        <pc:sldMkLst>
          <pc:docMk/>
          <pc:sldMk cId="3901246240" sldId="4121"/>
        </pc:sldMkLst>
      </pc:sldChg>
      <pc:sldChg chg="del">
        <pc:chgData name="Liu, Changsheng A." userId="877438ce-3489-4027-b8c0-4bd167ef53d0" providerId="ADAL" clId="{45459D4C-9B00-420B-BA5B-7FB89E3193BE}" dt="2020-05-28T03:38:14.248" v="33" actId="2696"/>
        <pc:sldMkLst>
          <pc:docMk/>
          <pc:sldMk cId="2836530403" sldId="4122"/>
        </pc:sldMkLst>
      </pc:sldChg>
      <pc:sldChg chg="del">
        <pc:chgData name="Liu, Changsheng A." userId="877438ce-3489-4027-b8c0-4bd167ef53d0" providerId="ADAL" clId="{45459D4C-9B00-420B-BA5B-7FB89E3193BE}" dt="2020-05-28T03:38:13.481" v="7" actId="2696"/>
        <pc:sldMkLst>
          <pc:docMk/>
          <pc:sldMk cId="679840720" sldId="4123"/>
        </pc:sldMkLst>
      </pc:sldChg>
      <pc:sldChg chg="del">
        <pc:chgData name="Liu, Changsheng A." userId="877438ce-3489-4027-b8c0-4bd167ef53d0" providerId="ADAL" clId="{45459D4C-9B00-420B-BA5B-7FB89E3193BE}" dt="2020-05-28T03:38:14.227" v="32" actId="2696"/>
        <pc:sldMkLst>
          <pc:docMk/>
          <pc:sldMk cId="2173446428" sldId="4124"/>
        </pc:sldMkLst>
      </pc:sldChg>
      <pc:sldChg chg="del">
        <pc:chgData name="Liu, Changsheng A." userId="877438ce-3489-4027-b8c0-4bd167ef53d0" providerId="ADAL" clId="{45459D4C-9B00-420B-BA5B-7FB89E3193BE}" dt="2020-05-28T03:38:13.713" v="14" actId="2696"/>
        <pc:sldMkLst>
          <pc:docMk/>
          <pc:sldMk cId="255231703" sldId="4125"/>
        </pc:sldMkLst>
      </pc:sldChg>
      <pc:sldChg chg="del">
        <pc:chgData name="Liu, Changsheng A." userId="877438ce-3489-4027-b8c0-4bd167ef53d0" providerId="ADAL" clId="{45459D4C-9B00-420B-BA5B-7FB89E3193BE}" dt="2020-05-28T03:38:13.645" v="11" actId="2696"/>
        <pc:sldMkLst>
          <pc:docMk/>
          <pc:sldMk cId="3729361666" sldId="4128"/>
        </pc:sldMkLst>
      </pc:sldChg>
      <pc:sldChg chg="del">
        <pc:chgData name="Liu, Changsheng A." userId="877438ce-3489-4027-b8c0-4bd167ef53d0" providerId="ADAL" clId="{45459D4C-9B00-420B-BA5B-7FB89E3193BE}" dt="2020-05-28T03:38:13.794" v="17" actId="2696"/>
        <pc:sldMkLst>
          <pc:docMk/>
          <pc:sldMk cId="4063313902" sldId="4129"/>
        </pc:sldMkLst>
      </pc:sldChg>
      <pc:sldChg chg="del">
        <pc:chgData name="Liu, Changsheng A." userId="877438ce-3489-4027-b8c0-4bd167ef53d0" providerId="ADAL" clId="{45459D4C-9B00-420B-BA5B-7FB89E3193BE}" dt="2020-05-28T03:38:13.836" v="18" actId="2696"/>
        <pc:sldMkLst>
          <pc:docMk/>
          <pc:sldMk cId="2485854463" sldId="4130"/>
        </pc:sldMkLst>
      </pc:sldChg>
      <pc:sldChg chg="del">
        <pc:chgData name="Liu, Changsheng A." userId="877438ce-3489-4027-b8c0-4bd167ef53d0" providerId="ADAL" clId="{45459D4C-9B00-420B-BA5B-7FB89E3193BE}" dt="2020-05-28T03:38:13.893" v="19" actId="2696"/>
        <pc:sldMkLst>
          <pc:docMk/>
          <pc:sldMk cId="4037581780" sldId="4131"/>
        </pc:sldMkLst>
      </pc:sldChg>
      <pc:sldChg chg="del">
        <pc:chgData name="Liu, Changsheng A." userId="877438ce-3489-4027-b8c0-4bd167ef53d0" providerId="ADAL" clId="{45459D4C-9B00-420B-BA5B-7FB89E3193BE}" dt="2020-05-28T03:38:14.410" v="39" actId="2696"/>
        <pc:sldMkLst>
          <pc:docMk/>
          <pc:sldMk cId="1758776373" sldId="4133"/>
        </pc:sldMkLst>
      </pc:sldChg>
      <pc:sldChg chg="del">
        <pc:chgData name="Liu, Changsheng A." userId="877438ce-3489-4027-b8c0-4bd167ef53d0" providerId="ADAL" clId="{45459D4C-9B00-420B-BA5B-7FB89E3193BE}" dt="2020-05-28T03:38:14.472" v="43" actId="2696"/>
        <pc:sldMkLst>
          <pc:docMk/>
          <pc:sldMk cId="1132493365" sldId="4134"/>
        </pc:sldMkLst>
      </pc:sldChg>
      <pc:sldChg chg="del">
        <pc:chgData name="Liu, Changsheng A." userId="877438ce-3489-4027-b8c0-4bd167ef53d0" providerId="ADAL" clId="{45459D4C-9B00-420B-BA5B-7FB89E3193BE}" dt="2020-05-28T03:38:13.921" v="20" actId="2696"/>
        <pc:sldMkLst>
          <pc:docMk/>
          <pc:sldMk cId="309231415" sldId="4141"/>
        </pc:sldMkLst>
      </pc:sldChg>
      <pc:sldChg chg="del">
        <pc:chgData name="Liu, Changsheng A." userId="877438ce-3489-4027-b8c0-4bd167ef53d0" providerId="ADAL" clId="{45459D4C-9B00-420B-BA5B-7FB89E3193BE}" dt="2020-05-28T03:38:13.976" v="23" actId="2696"/>
        <pc:sldMkLst>
          <pc:docMk/>
          <pc:sldMk cId="3386810625" sldId="4142"/>
        </pc:sldMkLst>
      </pc:sldChg>
      <pc:sldChg chg="del">
        <pc:chgData name="Liu, Changsheng A." userId="877438ce-3489-4027-b8c0-4bd167ef53d0" providerId="ADAL" clId="{45459D4C-9B00-420B-BA5B-7FB89E3193BE}" dt="2020-05-28T03:38:14.154" v="29" actId="2696"/>
        <pc:sldMkLst>
          <pc:docMk/>
          <pc:sldMk cId="188624837" sldId="4143"/>
        </pc:sldMkLst>
      </pc:sldChg>
      <pc:sldChg chg="del">
        <pc:chgData name="Liu, Changsheng A." userId="877438ce-3489-4027-b8c0-4bd167ef53d0" providerId="ADAL" clId="{45459D4C-9B00-420B-BA5B-7FB89E3193BE}" dt="2020-05-28T03:38:14.263" v="34" actId="2696"/>
        <pc:sldMkLst>
          <pc:docMk/>
          <pc:sldMk cId="1472971071" sldId="4145"/>
        </pc:sldMkLst>
      </pc:sldChg>
      <pc:sldChg chg="del">
        <pc:chgData name="Liu, Changsheng A." userId="877438ce-3489-4027-b8c0-4bd167ef53d0" providerId="ADAL" clId="{45459D4C-9B00-420B-BA5B-7FB89E3193BE}" dt="2020-05-28T03:38:14.314" v="36" actId="2696"/>
        <pc:sldMkLst>
          <pc:docMk/>
          <pc:sldMk cId="4164656736" sldId="4146"/>
        </pc:sldMkLst>
      </pc:sldChg>
      <pc:sldChg chg="del">
        <pc:chgData name="Liu, Changsheng A." userId="877438ce-3489-4027-b8c0-4bd167ef53d0" providerId="ADAL" clId="{45459D4C-9B00-420B-BA5B-7FB89E3193BE}" dt="2020-05-28T03:38:14.448" v="41" actId="2696"/>
        <pc:sldMkLst>
          <pc:docMk/>
          <pc:sldMk cId="627265498" sldId="4147"/>
        </pc:sldMkLst>
      </pc:sldChg>
      <pc:sldChg chg="del">
        <pc:chgData name="Liu, Changsheng A." userId="877438ce-3489-4027-b8c0-4bd167ef53d0" providerId="ADAL" clId="{45459D4C-9B00-420B-BA5B-7FB89E3193BE}" dt="2020-05-28T03:38:14.465" v="42" actId="2696"/>
        <pc:sldMkLst>
          <pc:docMk/>
          <pc:sldMk cId="296807256" sldId="4148"/>
        </pc:sldMkLst>
      </pc:sldChg>
      <pc:sldChg chg="del">
        <pc:chgData name="Liu, Changsheng A." userId="877438ce-3489-4027-b8c0-4bd167ef53d0" providerId="ADAL" clId="{45459D4C-9B00-420B-BA5B-7FB89E3193BE}" dt="2020-05-28T03:38:15.363" v="66" actId="2696"/>
        <pc:sldMkLst>
          <pc:docMk/>
          <pc:sldMk cId="2326735274" sldId="4160"/>
        </pc:sldMkLst>
      </pc:sldChg>
      <pc:sldChg chg="del">
        <pc:chgData name="Liu, Changsheng A." userId="877438ce-3489-4027-b8c0-4bd167ef53d0" providerId="ADAL" clId="{45459D4C-9B00-420B-BA5B-7FB89E3193BE}" dt="2020-05-28T03:38:14.564" v="47" actId="2696"/>
        <pc:sldMkLst>
          <pc:docMk/>
          <pc:sldMk cId="2238893815" sldId="4164"/>
        </pc:sldMkLst>
      </pc:sldChg>
      <pc:sldChg chg="del">
        <pc:chgData name="Liu, Changsheng A." userId="877438ce-3489-4027-b8c0-4bd167ef53d0" providerId="ADAL" clId="{45459D4C-9B00-420B-BA5B-7FB89E3193BE}" dt="2020-05-28T03:38:15.313" v="65" actId="2696"/>
        <pc:sldMkLst>
          <pc:docMk/>
          <pc:sldMk cId="1669222162" sldId="4165"/>
        </pc:sldMkLst>
      </pc:sldChg>
      <pc:sldChg chg="del">
        <pc:chgData name="Liu, Changsheng A." userId="877438ce-3489-4027-b8c0-4bd167ef53d0" providerId="ADAL" clId="{45459D4C-9B00-420B-BA5B-7FB89E3193BE}" dt="2020-05-28T03:38:15.020" v="57" actId="2696"/>
        <pc:sldMkLst>
          <pc:docMk/>
          <pc:sldMk cId="338039003" sldId="5968"/>
        </pc:sldMkLst>
      </pc:sldChg>
      <pc:sldChg chg="del">
        <pc:chgData name="Liu, Changsheng A." userId="877438ce-3489-4027-b8c0-4bd167ef53d0" providerId="ADAL" clId="{45459D4C-9B00-420B-BA5B-7FB89E3193BE}" dt="2020-05-28T03:38:14.530" v="45" actId="2696"/>
        <pc:sldMkLst>
          <pc:docMk/>
          <pc:sldMk cId="1296730668" sldId="5975"/>
        </pc:sldMkLst>
      </pc:sldChg>
      <pc:sldChg chg="del">
        <pc:chgData name="Liu, Changsheng A." userId="877438ce-3489-4027-b8c0-4bd167ef53d0" providerId="ADAL" clId="{45459D4C-9B00-420B-BA5B-7FB89E3193BE}" dt="2020-05-28T03:38:14.596" v="48" actId="2696"/>
        <pc:sldMkLst>
          <pc:docMk/>
          <pc:sldMk cId="153787789" sldId="5982"/>
        </pc:sldMkLst>
      </pc:sldChg>
      <pc:sldChg chg="del">
        <pc:chgData name="Liu, Changsheng A." userId="877438ce-3489-4027-b8c0-4bd167ef53d0" providerId="ADAL" clId="{45459D4C-9B00-420B-BA5B-7FB89E3193BE}" dt="2020-05-28T03:38:15.471" v="67" actId="2696"/>
        <pc:sldMkLst>
          <pc:docMk/>
          <pc:sldMk cId="3687358872" sldId="6007"/>
        </pc:sldMkLst>
      </pc:sldChg>
      <pc:sldChg chg="del">
        <pc:chgData name="Liu, Changsheng A." userId="877438ce-3489-4027-b8c0-4bd167ef53d0" providerId="ADAL" clId="{45459D4C-9B00-420B-BA5B-7FB89E3193BE}" dt="2020-05-28T03:38:15.232" v="60" actId="2696"/>
        <pc:sldMkLst>
          <pc:docMk/>
          <pc:sldMk cId="2741571563" sldId="6016"/>
        </pc:sldMkLst>
      </pc:sldChg>
      <pc:sldChg chg="del">
        <pc:chgData name="Liu, Changsheng A." userId="877438ce-3489-4027-b8c0-4bd167ef53d0" providerId="ADAL" clId="{45459D4C-9B00-420B-BA5B-7FB89E3193BE}" dt="2020-05-28T03:38:15.126" v="59" actId="2696"/>
        <pc:sldMkLst>
          <pc:docMk/>
          <pc:sldMk cId="3570817175" sldId="6017"/>
        </pc:sldMkLst>
      </pc:sldChg>
      <pc:sldChg chg="del">
        <pc:chgData name="Liu, Changsheng A." userId="877438ce-3489-4027-b8c0-4bd167ef53d0" providerId="ADAL" clId="{45459D4C-9B00-420B-BA5B-7FB89E3193BE}" dt="2020-05-28T03:38:14.667" v="49" actId="2696"/>
        <pc:sldMkLst>
          <pc:docMk/>
          <pc:sldMk cId="501058036" sldId="6023"/>
        </pc:sldMkLst>
      </pc:sldChg>
      <pc:sldChg chg="del">
        <pc:chgData name="Liu, Changsheng A." userId="877438ce-3489-4027-b8c0-4bd167ef53d0" providerId="ADAL" clId="{45459D4C-9B00-420B-BA5B-7FB89E3193BE}" dt="2020-05-28T03:38:15.065" v="58" actId="2696"/>
        <pc:sldMkLst>
          <pc:docMk/>
          <pc:sldMk cId="1249045443" sldId="6045"/>
        </pc:sldMkLst>
      </pc:sldChg>
      <pc:sldChg chg="del">
        <pc:chgData name="Liu, Changsheng A." userId="877438ce-3489-4027-b8c0-4bd167ef53d0" providerId="ADAL" clId="{45459D4C-9B00-420B-BA5B-7FB89E3193BE}" dt="2020-05-28T03:38:15.255" v="61" actId="2696"/>
        <pc:sldMkLst>
          <pc:docMk/>
          <pc:sldMk cId="2882934052" sldId="6049"/>
        </pc:sldMkLst>
      </pc:sldChg>
      <pc:sldChg chg="del">
        <pc:chgData name="Liu, Changsheng A." userId="877438ce-3489-4027-b8c0-4bd167ef53d0" providerId="ADAL" clId="{45459D4C-9B00-420B-BA5B-7FB89E3193BE}" dt="2020-05-28T03:38:14.811" v="53" actId="2696"/>
        <pc:sldMkLst>
          <pc:docMk/>
          <pc:sldMk cId="664555910" sldId="6053"/>
        </pc:sldMkLst>
      </pc:sldChg>
      <pc:sldChg chg="del">
        <pc:chgData name="Liu, Changsheng A." userId="877438ce-3489-4027-b8c0-4bd167ef53d0" providerId="ADAL" clId="{45459D4C-9B00-420B-BA5B-7FB89E3193BE}" dt="2020-05-28T03:38:15.291" v="64" actId="2696"/>
        <pc:sldMkLst>
          <pc:docMk/>
          <pc:sldMk cId="3785816270" sldId="6058"/>
        </pc:sldMkLst>
      </pc:sldChg>
      <pc:sldChg chg="del">
        <pc:chgData name="Liu, Changsheng A." userId="877438ce-3489-4027-b8c0-4bd167ef53d0" providerId="ADAL" clId="{45459D4C-9B00-420B-BA5B-7FB89E3193BE}" dt="2020-05-28T03:38:14.717" v="50" actId="2696"/>
        <pc:sldMkLst>
          <pc:docMk/>
          <pc:sldMk cId="1163586354" sldId="6066"/>
        </pc:sldMkLst>
      </pc:sldChg>
      <pc:sldChg chg="del">
        <pc:chgData name="Liu, Changsheng A." userId="877438ce-3489-4027-b8c0-4bd167ef53d0" providerId="ADAL" clId="{45459D4C-9B00-420B-BA5B-7FB89E3193BE}" dt="2020-05-28T03:38:14.778" v="52" actId="2696"/>
        <pc:sldMkLst>
          <pc:docMk/>
          <pc:sldMk cId="3839770968" sldId="6070"/>
        </pc:sldMkLst>
      </pc:sldChg>
      <pc:sldChg chg="del">
        <pc:chgData name="Liu, Changsheng A." userId="877438ce-3489-4027-b8c0-4bd167ef53d0" providerId="ADAL" clId="{45459D4C-9B00-420B-BA5B-7FB89E3193BE}" dt="2020-05-28T03:38:14.549" v="46" actId="2696"/>
        <pc:sldMkLst>
          <pc:docMk/>
          <pc:sldMk cId="3247519340" sldId="6072"/>
        </pc:sldMkLst>
      </pc:sldChg>
      <pc:sldChg chg="del">
        <pc:chgData name="Liu, Changsheng A." userId="877438ce-3489-4027-b8c0-4bd167ef53d0" providerId="ADAL" clId="{45459D4C-9B00-420B-BA5B-7FB89E3193BE}" dt="2020-05-28T03:38:15.014" v="56" actId="2696"/>
        <pc:sldMkLst>
          <pc:docMk/>
          <pc:sldMk cId="2971536404" sldId="6075"/>
        </pc:sldMkLst>
      </pc:sldChg>
      <pc:sldChg chg="del">
        <pc:chgData name="Liu, Changsheng A." userId="877438ce-3489-4027-b8c0-4bd167ef53d0" providerId="ADAL" clId="{45459D4C-9B00-420B-BA5B-7FB89E3193BE}" dt="2020-05-28T03:38:15.580" v="68" actId="2696"/>
        <pc:sldMkLst>
          <pc:docMk/>
          <pc:sldMk cId="4109151718" sldId="6076"/>
        </pc:sldMkLst>
      </pc:sldChg>
      <pc:sldChg chg="del">
        <pc:chgData name="Liu, Changsheng A." userId="877438ce-3489-4027-b8c0-4bd167ef53d0" providerId="ADAL" clId="{45459D4C-9B00-420B-BA5B-7FB89E3193BE}" dt="2020-05-28T03:38:15.688" v="69" actId="2696"/>
        <pc:sldMkLst>
          <pc:docMk/>
          <pc:sldMk cId="3131076829" sldId="6077"/>
        </pc:sldMkLst>
      </pc:sldChg>
      <pc:sldChg chg="del">
        <pc:chgData name="Liu, Changsheng A." userId="877438ce-3489-4027-b8c0-4bd167ef53d0" providerId="ADAL" clId="{45459D4C-9B00-420B-BA5B-7FB89E3193BE}" dt="2020-05-28T03:38:15.716" v="70" actId="2696"/>
        <pc:sldMkLst>
          <pc:docMk/>
          <pc:sldMk cId="1893822954" sldId="6078"/>
        </pc:sldMkLst>
      </pc:sldChg>
      <pc:sldChg chg="del">
        <pc:chgData name="Liu, Changsheng A." userId="877438ce-3489-4027-b8c0-4bd167ef53d0" providerId="ADAL" clId="{45459D4C-9B00-420B-BA5B-7FB89E3193BE}" dt="2020-05-28T03:38:14.752" v="51" actId="2696"/>
        <pc:sldMkLst>
          <pc:docMk/>
          <pc:sldMk cId="1496283613" sldId="6080"/>
        </pc:sldMkLst>
      </pc:sldChg>
      <pc:sldChg chg="del">
        <pc:chgData name="Liu, Changsheng A." userId="877438ce-3489-4027-b8c0-4bd167ef53d0" providerId="ADAL" clId="{45459D4C-9B00-420B-BA5B-7FB89E3193BE}" dt="2020-05-28T03:38:13.433" v="5" actId="2696"/>
        <pc:sldMkLst>
          <pc:docMk/>
          <pc:sldMk cId="2964777183" sldId="6081"/>
        </pc:sldMkLst>
      </pc:sldChg>
      <pc:sldChg chg="del">
        <pc:chgData name="Liu, Changsheng A." userId="877438ce-3489-4027-b8c0-4bd167ef53d0" providerId="ADAL" clId="{45459D4C-9B00-420B-BA5B-7FB89E3193BE}" dt="2020-05-28T03:38:13.326" v="1" actId="2696"/>
        <pc:sldMkLst>
          <pc:docMk/>
          <pc:sldMk cId="1026528123" sldId="7047"/>
        </pc:sldMkLst>
      </pc:sldChg>
      <pc:sldChg chg="del">
        <pc:chgData name="Liu, Changsheng A." userId="877438ce-3489-4027-b8c0-4bd167ef53d0" providerId="ADAL" clId="{45459D4C-9B00-420B-BA5B-7FB89E3193BE}" dt="2020-05-28T03:38:14.024" v="25" actId="2696"/>
        <pc:sldMkLst>
          <pc:docMk/>
          <pc:sldMk cId="3537177291" sldId="7048"/>
        </pc:sldMkLst>
      </pc:sldChg>
      <pc:sldChg chg="del">
        <pc:chgData name="Liu, Changsheng A." userId="877438ce-3489-4027-b8c0-4bd167ef53d0" providerId="ADAL" clId="{45459D4C-9B00-420B-BA5B-7FB89E3193BE}" dt="2020-05-28T03:38:13.417" v="4" actId="2696"/>
        <pc:sldMkLst>
          <pc:docMk/>
          <pc:sldMk cId="3584140708" sldId="7049"/>
        </pc:sldMkLst>
      </pc:sldChg>
      <pc:sldChg chg="del">
        <pc:chgData name="Liu, Changsheng A." userId="877438ce-3489-4027-b8c0-4bd167ef53d0" providerId="ADAL" clId="{45459D4C-9B00-420B-BA5B-7FB89E3193BE}" dt="2020-05-28T03:38:13.996" v="24" actId="2696"/>
        <pc:sldMkLst>
          <pc:docMk/>
          <pc:sldMk cId="2670051788" sldId="7050"/>
        </pc:sldMkLst>
      </pc:sldChg>
      <pc:sldChg chg="del">
        <pc:chgData name="Liu, Changsheng A." userId="877438ce-3489-4027-b8c0-4bd167ef53d0" providerId="ADAL" clId="{45459D4C-9B00-420B-BA5B-7FB89E3193BE}" dt="2020-05-28T03:38:14.488" v="44" actId="2696"/>
        <pc:sldMkLst>
          <pc:docMk/>
          <pc:sldMk cId="3438134210" sldId="7051"/>
        </pc:sldMkLst>
      </pc:sldChg>
      <pc:sldChg chg="del">
        <pc:chgData name="Liu, Changsheng A." userId="877438ce-3489-4027-b8c0-4bd167ef53d0" providerId="ADAL" clId="{45459D4C-9B00-420B-BA5B-7FB89E3193BE}" dt="2020-05-28T03:38:15.276" v="63" actId="2696"/>
        <pc:sldMkLst>
          <pc:docMk/>
          <pc:sldMk cId="3938668318" sldId="7052"/>
        </pc:sldMkLst>
      </pc:sldChg>
      <pc:sldChg chg="del">
        <pc:chgData name="Liu, Changsheng A." userId="877438ce-3489-4027-b8c0-4bd167ef53d0" providerId="ADAL" clId="{45459D4C-9B00-420B-BA5B-7FB89E3193BE}" dt="2020-05-28T03:38:13.279" v="0" actId="2696"/>
        <pc:sldMkLst>
          <pc:docMk/>
          <pc:sldMk cId="1273937497" sldId="7064"/>
        </pc:sldMkLst>
      </pc:sldChg>
      <pc:sldMasterChg chg="delSldLayout">
        <pc:chgData name="Liu, Changsheng A." userId="877438ce-3489-4027-b8c0-4bd167ef53d0" providerId="ADAL" clId="{45459D4C-9B00-420B-BA5B-7FB89E3193BE}" dt="2020-05-28T03:39:31.192" v="80" actId="2696"/>
        <pc:sldMasterMkLst>
          <pc:docMk/>
          <pc:sldMasterMk cId="1038588672" sldId="2147495699"/>
        </pc:sldMasterMkLst>
        <pc:sldLayoutChg chg="del">
          <pc:chgData name="Liu, Changsheng A." userId="877438ce-3489-4027-b8c0-4bd167ef53d0" providerId="ADAL" clId="{45459D4C-9B00-420B-BA5B-7FB89E3193BE}" dt="2020-05-28T03:39:31.064" v="72" actId="2696"/>
          <pc:sldLayoutMkLst>
            <pc:docMk/>
            <pc:sldMasterMk cId="1038588672" sldId="2147495699"/>
            <pc:sldLayoutMk cId="1853934676" sldId="2147495719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068" v="73" actId="2696"/>
          <pc:sldLayoutMkLst>
            <pc:docMk/>
            <pc:sldMasterMk cId="1038588672" sldId="2147495699"/>
            <pc:sldLayoutMk cId="2806546645" sldId="2147495720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071" v="74" actId="2696"/>
          <pc:sldLayoutMkLst>
            <pc:docMk/>
            <pc:sldMasterMk cId="1038588672" sldId="2147495699"/>
            <pc:sldLayoutMk cId="2596460707" sldId="2147495721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075" v="75" actId="2696"/>
          <pc:sldLayoutMkLst>
            <pc:docMk/>
            <pc:sldMasterMk cId="1038588672" sldId="2147495699"/>
            <pc:sldLayoutMk cId="993503299" sldId="2147495722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30" v="76" actId="2696"/>
          <pc:sldLayoutMkLst>
            <pc:docMk/>
            <pc:sldMasterMk cId="1038588672" sldId="2147495699"/>
            <pc:sldLayoutMk cId="3833185805" sldId="2147495723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54" v="77" actId="2696"/>
          <pc:sldLayoutMkLst>
            <pc:docMk/>
            <pc:sldMasterMk cId="1038588672" sldId="2147495699"/>
            <pc:sldLayoutMk cId="1825561526" sldId="2147495732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78" v="78" actId="2696"/>
          <pc:sldLayoutMkLst>
            <pc:docMk/>
            <pc:sldMasterMk cId="1038588672" sldId="2147495699"/>
            <pc:sldLayoutMk cId="3123677345" sldId="2147495733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80" v="79" actId="2696"/>
          <pc:sldLayoutMkLst>
            <pc:docMk/>
            <pc:sldMasterMk cId="1038588672" sldId="2147495699"/>
            <pc:sldLayoutMk cId="2639112745" sldId="2147495766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92" v="80" actId="2696"/>
          <pc:sldLayoutMkLst>
            <pc:docMk/>
            <pc:sldMasterMk cId="1038588672" sldId="2147495699"/>
            <pc:sldLayoutMk cId="2251189327" sldId="2147495767"/>
          </pc:sldLayoutMkLst>
        </pc:sldLayoutChg>
        <pc:sldLayoutChg chg="del">
          <pc:chgData name="Liu, Changsheng A." userId="877438ce-3489-4027-b8c0-4bd167ef53d0" providerId="ADAL" clId="{45459D4C-9B00-420B-BA5B-7FB89E3193BE}" dt="2020-05-28T03:38:13.684" v="13" actId="2696"/>
          <pc:sldLayoutMkLst>
            <pc:docMk/>
            <pc:sldMasterMk cId="1038588672" sldId="2147495699"/>
            <pc:sldLayoutMk cId="48084476" sldId="2147495769"/>
          </pc:sldLayoutMkLst>
        </pc:sldLayoutChg>
        <pc:sldLayoutChg chg="del">
          <pc:chgData name="Liu, Changsheng A." userId="877438ce-3489-4027-b8c0-4bd167ef53d0" providerId="ADAL" clId="{45459D4C-9B00-420B-BA5B-7FB89E3193BE}" dt="2020-05-28T03:38:13.753" v="16" actId="2696"/>
          <pc:sldLayoutMkLst>
            <pc:docMk/>
            <pc:sldMasterMk cId="1038588672" sldId="2147495699"/>
            <pc:sldLayoutMk cId="1852855728" sldId="2147495770"/>
          </pc:sldLayoutMkLst>
        </pc:sldLayoutChg>
      </pc:sldMasterChg>
    </pc:docChg>
  </pc:docChgLst>
  <pc:docChgLst>
    <pc:chgData name="Liu, Changsheng A." userId="877438ce-3489-4027-b8c0-4bd167ef53d0" providerId="ADAL" clId="{38D8BDCF-4E03-479E-ADF0-E564E876D239}"/>
    <pc:docChg chg="modSld">
      <pc:chgData name="Liu, Changsheng A." userId="877438ce-3489-4027-b8c0-4bd167ef53d0" providerId="ADAL" clId="{38D8BDCF-4E03-479E-ADF0-E564E876D239}" dt="2020-08-13T09:44:58.825" v="35"/>
      <pc:docMkLst>
        <pc:docMk/>
      </pc:docMkLst>
      <pc:sldChg chg="addSp modSp">
        <pc:chgData name="Liu, Changsheng A." userId="877438ce-3489-4027-b8c0-4bd167ef53d0" providerId="ADAL" clId="{38D8BDCF-4E03-479E-ADF0-E564E876D239}" dt="2020-08-13T09:44:58.825" v="35"/>
        <pc:sldMkLst>
          <pc:docMk/>
          <pc:sldMk cId="2507160028" sldId="7079"/>
        </pc:sldMkLst>
        <pc:spChg chg="add mod">
          <ac:chgData name="Liu, Changsheng A." userId="877438ce-3489-4027-b8c0-4bd167ef53d0" providerId="ADAL" clId="{38D8BDCF-4E03-479E-ADF0-E564E876D239}" dt="2020-08-13T09:44:58.825" v="35"/>
          <ac:spMkLst>
            <pc:docMk/>
            <pc:sldMk cId="2507160028" sldId="7079"/>
            <ac:spMk id="11" creationId="{D78D53F9-2E56-484B-8F8F-8EC57F84E397}"/>
          </ac:spMkLst>
        </pc:spChg>
        <pc:spChg chg="mod">
          <ac:chgData name="Liu, Changsheng A." userId="877438ce-3489-4027-b8c0-4bd167ef53d0" providerId="ADAL" clId="{38D8BDCF-4E03-479E-ADF0-E564E876D239}" dt="2020-08-07T03:11:01.151" v="3" actId="207"/>
          <ac:spMkLst>
            <pc:docMk/>
            <pc:sldMk cId="2507160028" sldId="7079"/>
            <ac:spMk id="19" creationId="{4939358C-4E70-487A-B200-1F687810FFDB}"/>
          </ac:spMkLst>
        </pc:spChg>
        <pc:spChg chg="mod">
          <ac:chgData name="Liu, Changsheng A." userId="877438ce-3489-4027-b8c0-4bd167ef53d0" providerId="ADAL" clId="{38D8BDCF-4E03-479E-ADF0-E564E876D239}" dt="2020-08-07T03:10:56.391" v="2" actId="207"/>
          <ac:spMkLst>
            <pc:docMk/>
            <pc:sldMk cId="2507160028" sldId="7079"/>
            <ac:spMk id="24" creationId="{41B1751F-88A7-44FF-BE8F-7C4F64B13ED8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DF0D1C-6BBB-4D0F-825D-AB5615F85767}" type="datetimeFigureOut">
              <a:rPr lang="en-AU" smtClean="0">
                <a:latin typeface="Arial" panose="020B0604020202020204" pitchFamily="34" charset="0"/>
              </a:rPr>
              <a:t>8/11/20</a:t>
            </a:fld>
            <a:endParaRPr lang="en-AU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EB3A75-3D45-48A3-A205-F58769396C86}" type="slidenum">
              <a:rPr lang="en-AU" smtClean="0">
                <a:latin typeface="Arial" panose="020B0604020202020204" pitchFamily="34" charset="0"/>
              </a:rPr>
              <a:t>‹#›</a:t>
            </a:fld>
            <a:endParaRPr lang="en-AU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92115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E09F651E-BA7C-4E9C-8918-9342026E9CA9}" type="datetimeFigureOut">
              <a:rPr lang="en-AU" smtClean="0"/>
              <a:pPr/>
              <a:t>8/11/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4C2469E-A12A-44A9-9907-2A6DE1949567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24616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727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tags" Target="../tags/tag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3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png"/><Relationship Id="rId14" Type="http://schemas.openxmlformats.org/officeDocument/2006/relationships/image" Target="../media/image17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Cover Imag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C582271-1CDC-49BF-8F0D-49001DC52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C582271-1CDC-49BF-8F0D-49001DC52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21B8078-F93A-4FE0-9B99-7108592702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Graphik Black" panose="020B0A03030202060203" pitchFamily="34" charset="0"/>
              <a:sym typeface="Graphik Black" panose="020B0A03030202060203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660A1D7-FDBF-4C8C-A210-638326138117}"/>
              </a:ext>
            </a:extLst>
          </p:cNvPr>
          <p:cNvSpPr/>
          <p:nvPr userDrawn="1"/>
        </p:nvSpPr>
        <p:spPr>
          <a:xfrm>
            <a:off x="0" y="5943600"/>
            <a:ext cx="12186000" cy="9144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図 1">
            <a:extLst>
              <a:ext uri="{FF2B5EF4-FFF2-40B4-BE49-F238E27FC236}">
                <a16:creationId xmlns:a16="http://schemas.microsoft.com/office/drawing/2014/main" id="{F3A58649-428A-4878-A9D3-6133E2641B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6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00" y="0"/>
            <a:ext cx="12186000" cy="6858000"/>
          </a:xfrm>
          <a:prstGeom prst="rect">
            <a:avLst/>
          </a:prstGeom>
        </p:spPr>
      </p:pic>
      <p:pic>
        <p:nvPicPr>
          <p:cNvPr id="12" name="Acc_MobilityBLACK" hidden="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827" y="541385"/>
            <a:ext cx="3430214" cy="527557"/>
          </a:xfrm>
          <a:prstGeom prst="rect">
            <a:avLst/>
          </a:prstGeom>
        </p:spPr>
      </p:pic>
      <p:pic>
        <p:nvPicPr>
          <p:cNvPr id="13" name="Acc_InteractiveBLACK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486" y="551413"/>
            <a:ext cx="3443260" cy="518866"/>
          </a:xfrm>
          <a:prstGeom prst="rect">
            <a:avLst/>
          </a:prstGeom>
        </p:spPr>
      </p:pic>
      <p:pic>
        <p:nvPicPr>
          <p:cNvPr id="14" name="Acc_AnalyticsBLACK" hidden="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6099" y="541708"/>
            <a:ext cx="3428941" cy="528482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5E351B11-9E6A-478D-B09A-5E82A510FF88}"/>
              </a:ext>
            </a:extLst>
          </p:cNvPr>
          <p:cNvGrpSpPr/>
          <p:nvPr userDrawn="1"/>
        </p:nvGrpSpPr>
        <p:grpSpPr>
          <a:xfrm>
            <a:off x="7009267" y="1015956"/>
            <a:ext cx="4847770" cy="4968963"/>
            <a:chOff x="7824192" y="3447860"/>
            <a:chExt cx="381000" cy="390525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6648FCA3-A4AA-4DCC-B9B4-121B86EA20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F748DBBE-E979-44B1-B7C5-868B3D3A3B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sp>
        <p:nvSpPr>
          <p:cNvPr id="21" name="Title 2">
            <a:extLst>
              <a:ext uri="{FF2B5EF4-FFF2-40B4-BE49-F238E27FC236}">
                <a16:creationId xmlns:a16="http://schemas.microsoft.com/office/drawing/2014/main" id="{D19BB4D8-127A-437F-BE1A-67BAEA26F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323" y="1462236"/>
            <a:ext cx="5353246" cy="3948750"/>
          </a:xfrm>
          <a:prstGeom prst="rect">
            <a:avLst/>
          </a:prstGeom>
        </p:spPr>
        <p:txBody>
          <a:bodyPr tIns="252000" anchor="ctr"/>
          <a:lstStyle>
            <a:lvl1pPr>
              <a:lnSpc>
                <a:spcPct val="70000"/>
              </a:lnSpc>
              <a:spcBef>
                <a:spcPts val="0"/>
              </a:spcBef>
              <a:defRPr sz="6000" spc="-1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AU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0DF2D77D-B968-4718-8AF4-388471C17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443" y="5627014"/>
            <a:ext cx="5599112" cy="430887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buNone/>
              <a:defRPr sz="2000" b="0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LINE</a:t>
            </a:r>
          </a:p>
          <a:p>
            <a:pPr lvl="0"/>
            <a:r>
              <a:rPr lang="en-US" dirty="0"/>
              <a:t>SECOND LINE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22992E20-129A-40BC-8B57-5C1072C5D9C4}"/>
              </a:ext>
            </a:extLst>
          </p:cNvPr>
          <p:cNvGrpSpPr/>
          <p:nvPr userDrawn="1"/>
        </p:nvGrpSpPr>
        <p:grpSpPr>
          <a:xfrm>
            <a:off x="0" y="116620"/>
            <a:ext cx="4602480" cy="825068"/>
            <a:chOff x="7508240" y="612925"/>
            <a:chExt cx="4602480" cy="825068"/>
          </a:xfrm>
        </p:grpSpPr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754ABD19-7D12-4D95-BCBE-C1BA0B5BC26A}"/>
                </a:ext>
              </a:extLst>
            </p:cNvPr>
            <p:cNvSpPr/>
            <p:nvPr userDrawn="1"/>
          </p:nvSpPr>
          <p:spPr>
            <a:xfrm>
              <a:off x="8925152" y="612925"/>
              <a:ext cx="365760" cy="4335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2800" b="1" dirty="0">
                  <a:latin typeface="Arial Black" panose="020B0A04020102020204" pitchFamily="34" charset="0"/>
                  <a:cs typeface="Arial" panose="020B0604020202020204" pitchFamily="34" charset="0"/>
                </a:rPr>
                <a:t>&gt;</a:t>
              </a:r>
              <a:endParaRPr kumimoji="1" lang="ja-JP" altLang="en-US" sz="28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正方形/長方形 28">
              <a:extLst>
                <a:ext uri="{FF2B5EF4-FFF2-40B4-BE49-F238E27FC236}">
                  <a16:creationId xmlns:a16="http://schemas.microsoft.com/office/drawing/2014/main" id="{385A22A4-6453-4B25-A789-4113054B2FF3}"/>
                </a:ext>
              </a:extLst>
            </p:cNvPr>
            <p:cNvSpPr/>
            <p:nvPr userDrawn="1"/>
          </p:nvSpPr>
          <p:spPr>
            <a:xfrm>
              <a:off x="7508240" y="873081"/>
              <a:ext cx="4602480" cy="56491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accenture </a:t>
              </a:r>
              <a:r>
                <a:rPr kumimoji="1" lang="en-US" altLang="ja-JP" sz="3200" b="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technology</a:t>
              </a:r>
              <a:endParaRPr kumimoji="1" lang="ja-JP" altLang="en-US" sz="3200" b="0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56069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968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_Title_Only">
  <p:cSld name="Content_Title_Only">
    <p:bg>
      <p:bgPr>
        <a:solidFill>
          <a:srgbClr val="000000"/>
        </a:solidFill>
        <a:effectLst/>
      </p:bgPr>
    </p:bg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p272"/>
          <p:cNvSpPr txBox="1">
            <a:spLocks noGrp="1"/>
          </p:cNvSpPr>
          <p:nvPr>
            <p:ph type="title"/>
          </p:nvPr>
        </p:nvSpPr>
        <p:spPr>
          <a:xfrm>
            <a:off x="0" y="0"/>
            <a:ext cx="12191999" cy="999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Font typeface="Montserrat Black"/>
              <a:buNone/>
              <a:defRPr sz="3200" b="1" cap="none">
                <a:solidFill>
                  <a:schemeClr val="lt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icrosoft YaHei UI" panose="020B0503020204020204" pitchFamily="34" charset="-122"/>
                <a:sym typeface="Montserrat Black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9pPr>
          </a:lstStyle>
          <a:p>
            <a:endParaRPr dirty="0"/>
          </a:p>
        </p:txBody>
      </p:sp>
      <p:sp>
        <p:nvSpPr>
          <p:cNvPr id="1244" name="Google Shape;1244;p272"/>
          <p:cNvSpPr txBox="1">
            <a:spLocks noGrp="1"/>
          </p:cNvSpPr>
          <p:nvPr>
            <p:ph type="sldNum" idx="12"/>
          </p:nvPr>
        </p:nvSpPr>
        <p:spPr>
          <a:xfrm>
            <a:off x="10058845" y="6366511"/>
            <a:ext cx="964800" cy="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cxnSp>
        <p:nvCxnSpPr>
          <p:cNvPr id="5" name="直線コネクタ 4">
            <a:extLst>
              <a:ext uri="{FF2B5EF4-FFF2-40B4-BE49-F238E27FC236}">
                <a16:creationId xmlns:a16="http://schemas.microsoft.com/office/drawing/2014/main" id="{EAEF338D-2BEB-46A3-BA7D-47E448C836A9}"/>
              </a:ext>
            </a:extLst>
          </p:cNvPr>
          <p:cNvCxnSpPr>
            <a:cxnSpLocks/>
          </p:cNvCxnSpPr>
          <p:nvPr userDrawn="1"/>
        </p:nvCxnSpPr>
        <p:spPr>
          <a:xfrm>
            <a:off x="0" y="999067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57164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11" Type="http://schemas.openxmlformats.org/officeDocument/2006/relationships/image" Target="../media/image8.emf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ccenture_Strategy" hidden="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3522"/>
            <a:ext cx="1728810" cy="328803"/>
          </a:xfrm>
          <a:prstGeom prst="rect">
            <a:avLst/>
          </a:prstGeom>
        </p:spPr>
      </p:pic>
      <p:pic>
        <p:nvPicPr>
          <p:cNvPr id="22" name="Accenture_Operations" hidden="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728" y="6252513"/>
            <a:ext cx="1958068" cy="324500"/>
          </a:xfrm>
          <a:prstGeom prst="rect">
            <a:avLst/>
          </a:prstGeom>
        </p:spPr>
      </p:pic>
      <p:pic>
        <p:nvPicPr>
          <p:cNvPr id="27" name="Accenture_Mobility" hidden="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6339423"/>
            <a:ext cx="2040630" cy="361414"/>
          </a:xfrm>
          <a:prstGeom prst="rect">
            <a:avLst/>
          </a:prstGeom>
        </p:spPr>
      </p:pic>
      <p:pic>
        <p:nvPicPr>
          <p:cNvPr id="25" name="Accenture_Interactive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41000"/>
            <a:ext cx="2041200" cy="360863"/>
          </a:xfrm>
          <a:prstGeom prst="rect">
            <a:avLst/>
          </a:prstGeom>
        </p:spPr>
      </p:pic>
      <p:pic>
        <p:nvPicPr>
          <p:cNvPr id="26" name="Accenture_Analytics" hidden="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38829"/>
            <a:ext cx="2023200" cy="362168"/>
          </a:xfrm>
          <a:prstGeom prst="rect">
            <a:avLst/>
          </a:prstGeom>
        </p:spPr>
      </p:pic>
      <p:pic>
        <p:nvPicPr>
          <p:cNvPr id="7" name="Accenture_Digital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80" y="6246019"/>
            <a:ext cx="1545637" cy="331832"/>
          </a:xfrm>
          <a:prstGeom prst="rect">
            <a:avLst/>
          </a:prstGeom>
        </p:spPr>
      </p:pic>
      <p:pic>
        <p:nvPicPr>
          <p:cNvPr id="4" name="Accenture_Consulting" hidden="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9" y="6244783"/>
            <a:ext cx="1942440" cy="330692"/>
          </a:xfrm>
          <a:prstGeom prst="rect">
            <a:avLst/>
          </a:prstGeom>
        </p:spPr>
      </p:pic>
      <p:grpSp>
        <p:nvGrpSpPr>
          <p:cNvPr id="14" name="Accenture_Master" hidden="1"/>
          <p:cNvGrpSpPr/>
          <p:nvPr userDrawn="1"/>
        </p:nvGrpSpPr>
        <p:grpSpPr>
          <a:xfrm>
            <a:off x="345019" y="6249814"/>
            <a:ext cx="957526" cy="276934"/>
            <a:chOff x="476250" y="397668"/>
            <a:chExt cx="2195577" cy="635000"/>
          </a:xfrm>
        </p:grpSpPr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1758865" y="397668"/>
              <a:ext cx="206059" cy="214470"/>
            </a:xfrm>
            <a:custGeom>
              <a:avLst/>
              <a:gdLst>
                <a:gd name="T0" fmla="*/ 0 w 72"/>
                <a:gd name="T1" fmla="*/ 0 h 74"/>
                <a:gd name="T2" fmla="*/ 0 w 72"/>
                <a:gd name="T3" fmla="*/ 2 h 74"/>
                <a:gd name="T4" fmla="*/ 0 w 72"/>
                <a:gd name="T5" fmla="*/ 16 h 74"/>
                <a:gd name="T6" fmla="*/ 53 w 72"/>
                <a:gd name="T7" fmla="*/ 37 h 74"/>
                <a:gd name="T8" fmla="*/ 0 w 72"/>
                <a:gd name="T9" fmla="*/ 57 h 74"/>
                <a:gd name="T10" fmla="*/ 0 w 72"/>
                <a:gd name="T11" fmla="*/ 74 h 74"/>
                <a:gd name="T12" fmla="*/ 72 w 72"/>
                <a:gd name="T13" fmla="*/ 44 h 74"/>
                <a:gd name="T14" fmla="*/ 72 w 72"/>
                <a:gd name="T15" fmla="*/ 29 h 74"/>
                <a:gd name="T16" fmla="*/ 0 w 72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4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46" y="34"/>
                    <a:pt x="53" y="37"/>
                  </a:cubicBezTo>
                  <a:cubicBezTo>
                    <a:pt x="46" y="40"/>
                    <a:pt x="0" y="57"/>
                    <a:pt x="0" y="5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29"/>
                    <a:pt x="72" y="29"/>
                    <a:pt x="72" y="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pic>
          <p:nvPicPr>
            <p:cNvPr id="16" name="Accenture Black"/>
            <p:cNvPicPr>
              <a:picLocks noChangeAspect="1"/>
            </p:cNvPicPr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6250" y="641561"/>
              <a:ext cx="2195577" cy="391107"/>
            </a:xfrm>
            <a:prstGeom prst="rect">
              <a:avLst/>
            </a:prstGeom>
          </p:spPr>
        </p:pic>
      </p:grpSp>
      <p:sp>
        <p:nvSpPr>
          <p:cNvPr id="17" name="Footer Placeholder 1">
            <a:extLst>
              <a:ext uri="{FF2B5EF4-FFF2-40B4-BE49-F238E27FC236}">
                <a16:creationId xmlns:a16="http://schemas.microsoft.com/office/drawing/2014/main" id="{8DF43ADC-0834-4E2D-A84B-1EF38B59EB45}"/>
              </a:ext>
            </a:extLst>
          </p:cNvPr>
          <p:cNvSpPr txBox="1">
            <a:spLocks/>
          </p:cNvSpPr>
          <p:nvPr userDrawn="1"/>
        </p:nvSpPr>
        <p:spPr>
          <a:xfrm>
            <a:off x="381003" y="6539580"/>
            <a:ext cx="2977660" cy="18580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right © 20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38588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715" r:id="rId1"/>
    <p:sldLayoutId id="2147495771" r:id="rId2"/>
  </p:sldLayoutIdLst>
  <p:hf sldNum="0" hdr="0" ftr="0" dt="0"/>
  <p:txStyles>
    <p:titleStyle>
      <a:lvl1pPr algn="l" defTabSz="1734634" rtl="0" eaLnBrk="1" latinLnBrk="0" hangingPunct="1">
        <a:lnSpc>
          <a:spcPct val="80000"/>
        </a:lnSpc>
        <a:spcBef>
          <a:spcPct val="0"/>
        </a:spcBef>
        <a:buNone/>
        <a:defRPr sz="2800" b="0" i="0" kern="1200" cap="all" spc="-133" baseline="0">
          <a:solidFill>
            <a:schemeClr val="tx1"/>
          </a:solidFill>
          <a:latin typeface="+mj-lt"/>
          <a:ea typeface="Arial Black" charset="0"/>
          <a:cs typeface="Arial Black" charset="0"/>
        </a:defRPr>
      </a:lvl1pPr>
    </p:titleStyle>
    <p:bodyStyle>
      <a:lvl1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old" charset="0"/>
          <a:cs typeface="Arial Bold" charset="0"/>
        </a:defRPr>
      </a:lvl6pPr>
      <a:lvl7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7pPr>
      <a:lvl8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8pPr>
      <a:lvl9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31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634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951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9269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6586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903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122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853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3" pos="240">
          <p15:clr>
            <a:srgbClr val="F26B43"/>
          </p15:clr>
        </p15:guide>
        <p15:guide id="5" orient="horz" pos="2160">
          <p15:clr>
            <a:srgbClr val="F26B43"/>
          </p15:clr>
        </p15:guide>
        <p15:guide id="7" orient="horz" pos="240">
          <p15:clr>
            <a:srgbClr val="F26B43"/>
          </p15:clr>
        </p15:guide>
        <p15:guide id="8" orient="horz" pos="4224">
          <p15:clr>
            <a:srgbClr val="F26B43"/>
          </p15:clr>
        </p15:guide>
        <p15:guide id="9" orient="horz">
          <p15:clr>
            <a:srgbClr val="F26B43"/>
          </p15:clr>
        </p15:guide>
        <p15:guide id="11" pos="7440">
          <p15:clr>
            <a:srgbClr val="F26B43"/>
          </p15:clr>
        </p15:guide>
        <p15:guide id="16" pos="3840">
          <p15:clr>
            <a:srgbClr val="F26B43"/>
          </p15:clr>
        </p15:guide>
        <p15:guide id="21">
          <p15:clr>
            <a:srgbClr val="F26B43"/>
          </p15:clr>
        </p15:guide>
        <p15:guide id="24" pos="7680">
          <p15:clr>
            <a:srgbClr val="F26B43"/>
          </p15:clr>
        </p15:guide>
        <p15:guide id="25" orient="horz" pos="1056">
          <p15:clr>
            <a:srgbClr val="F26B43"/>
          </p15:clr>
        </p15:guide>
        <p15:guide id="26" orient="horz" pos="4104">
          <p15:clr>
            <a:srgbClr val="F26B43"/>
          </p15:clr>
        </p15:guide>
        <p15:guide id="27" orient="horz" pos="2640">
          <p15:clr>
            <a:srgbClr val="F26B43"/>
          </p15:clr>
        </p15:guide>
        <p15:guide id="28" orient="horz" pos="1680">
          <p15:clr>
            <a:srgbClr val="F26B43"/>
          </p15:clr>
        </p15:guide>
        <p15:guide id="29" pos="2955">
          <p15:clr>
            <a:srgbClr val="F26B43"/>
          </p15:clr>
        </p15:guide>
        <p15:guide id="30" pos="47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2B73813-E41A-4585-9C5A-36AB20DFC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500" y="1604842"/>
            <a:ext cx="4325833" cy="3948750"/>
          </a:xfrm>
        </p:spPr>
        <p:txBody>
          <a:bodyPr lIns="0" tIns="0" rIns="0" bIns="0"/>
          <a:lstStyle/>
          <a:p>
            <a:r>
              <a:rPr lang="en-US" altLang="zh-CN" sz="6600" dirty="0">
                <a:latin typeface="Arial Black" panose="020B0A04020102020204" pitchFamily="34" charset="0"/>
              </a:rPr>
              <a:t>YOUR</a:t>
            </a:r>
            <a:br>
              <a:rPr lang="en-US" altLang="zh-CN" sz="6600" dirty="0">
                <a:latin typeface="Arial Black" panose="020B0A04020102020204" pitchFamily="34" charset="0"/>
              </a:rPr>
            </a:br>
            <a:r>
              <a:rPr lang="en-US" sz="6600" dirty="0">
                <a:latin typeface="Arial Black" panose="020B0A04020102020204" pitchFamily="34" charset="0"/>
              </a:rPr>
              <a:t>Future</a:t>
            </a:r>
            <a:br>
              <a:rPr lang="en-US" sz="6600" dirty="0">
                <a:latin typeface="Arial Black" panose="020B0A04020102020204" pitchFamily="34" charset="0"/>
              </a:rPr>
            </a:br>
            <a:r>
              <a:rPr lang="en-US" altLang="zh-CN" sz="6600" dirty="0">
                <a:latin typeface="Arial Black" panose="020B0A04020102020204" pitchFamily="34" charset="0"/>
              </a:rPr>
              <a:t>NOW</a:t>
            </a:r>
            <a:endParaRPr lang="en-US" sz="6600" dirty="0">
              <a:latin typeface="Arial Black" panose="020B0A04020102020204" pitchFamily="34" charset="0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646565C-9A64-4E38-80BD-7636265786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367" y="5100288"/>
            <a:ext cx="8686244" cy="601062"/>
          </a:xfrm>
        </p:spPr>
        <p:txBody>
          <a:bodyPr/>
          <a:lstStyle/>
          <a:p>
            <a:r>
              <a:rPr lang="en-US" altLang="ja-JP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LUTTER</a:t>
            </a:r>
            <a:r>
              <a:rPr lang="zh-CN" altLang="en-US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OMMON</a:t>
            </a:r>
            <a:r>
              <a:rPr lang="en-US" altLang="ja-JP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endParaRPr lang="en-US" sz="5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23846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Scroll</a:t>
            </a:r>
            <a:r>
              <a:rPr kumimoji="1" lang="zh-CN" altLang="en-US" dirty="0"/>
              <a:t> </a:t>
            </a:r>
            <a:r>
              <a:rPr kumimoji="1" lang="en-US" altLang="zh-CN" dirty="0"/>
              <a:t>Layou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5853723" y="1137444"/>
            <a:ext cx="6127263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285750" indent="-285750">
              <a:buFont typeface="Wingdings" pitchFamily="2" charset="2"/>
              <a:buChar char="l"/>
            </a:pPr>
            <a:r>
              <a:rPr lang="en-US" altLang="zh-CN" sz="20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istView.builder</a:t>
            </a:r>
            <a:endParaRPr lang="en-US" altLang="zh-CN" sz="20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20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istView.separated</a:t>
            </a:r>
            <a:endParaRPr lang="en-US" altLang="zh-CN" sz="20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r>
              <a:rPr lang="en" altLang="zh-CN" dirty="0" err="1">
                <a:solidFill>
                  <a:schemeClr val="bg1"/>
                </a:solidFill>
              </a:rPr>
              <a:t>itemBuilder</a:t>
            </a:r>
            <a:r>
              <a:rPr lang="en" altLang="zh-CN" dirty="0">
                <a:solidFill>
                  <a:schemeClr val="bg1"/>
                </a:solidFill>
              </a:rPr>
              <a:t> </a:t>
            </a:r>
          </a:p>
          <a:p>
            <a:r>
              <a:rPr lang="zh-CN" altLang="en-US" sz="1600" dirty="0">
                <a:solidFill>
                  <a:schemeClr val="bg1"/>
                </a:solidFill>
              </a:rPr>
              <a:t>列表项的构建器，执行时它返回一个 </a:t>
            </a:r>
            <a:r>
              <a:rPr lang="en" altLang="zh-CN" sz="1600" dirty="0">
                <a:solidFill>
                  <a:schemeClr val="bg1"/>
                </a:solidFill>
              </a:rPr>
              <a:t>Widget</a:t>
            </a:r>
            <a:r>
              <a:rPr lang="zh-CN" altLang="en" sz="1600" dirty="0">
                <a:solidFill>
                  <a:schemeClr val="bg1"/>
                </a:solidFill>
              </a:rPr>
              <a:t>。</a:t>
            </a:r>
            <a:r>
              <a:rPr lang="zh-CN" altLang="en-US" sz="1600" dirty="0">
                <a:solidFill>
                  <a:schemeClr val="bg1"/>
                </a:solidFill>
              </a:rPr>
              <a:t>当列表滚动到具体的 </a:t>
            </a:r>
            <a:r>
              <a:rPr lang="en" altLang="zh-CN" sz="1600" dirty="0">
                <a:solidFill>
                  <a:schemeClr val="bg1"/>
                </a:solidFill>
              </a:rPr>
              <a:t>index </a:t>
            </a:r>
            <a:r>
              <a:rPr lang="zh-CN" altLang="en-US" sz="1600" dirty="0">
                <a:solidFill>
                  <a:schemeClr val="bg1"/>
                </a:solidFill>
              </a:rPr>
              <a:t>位置时，该构建器会执行并创建列表项。</a:t>
            </a:r>
            <a:endParaRPr lang="en-US" altLang="zh-CN" sz="1600" dirty="0">
              <a:solidFill>
                <a:schemeClr val="bg1"/>
              </a:solidFill>
            </a:endParaRPr>
          </a:p>
          <a:p>
            <a:br>
              <a:rPr lang="zh-CN" altLang="en-US" sz="1600" dirty="0">
                <a:solidFill>
                  <a:schemeClr val="bg1"/>
                </a:solidFill>
              </a:rPr>
            </a:br>
            <a:r>
              <a:rPr lang="en" altLang="zh-CN" dirty="0" err="1">
                <a:solidFill>
                  <a:schemeClr val="bg1"/>
                </a:solidFill>
              </a:rPr>
              <a:t>itemCount</a:t>
            </a:r>
            <a:endParaRPr lang="en" altLang="zh-CN" dirty="0">
              <a:solidFill>
                <a:schemeClr val="bg1"/>
              </a:solidFill>
            </a:endParaRPr>
          </a:p>
          <a:p>
            <a:r>
              <a:rPr lang="zh-CN" altLang="en-US" sz="1600" dirty="0">
                <a:solidFill>
                  <a:schemeClr val="bg1"/>
                </a:solidFill>
              </a:rPr>
              <a:t>列表项的数量， 如果为 </a:t>
            </a:r>
            <a:r>
              <a:rPr lang="en" altLang="zh-CN" sz="1600" dirty="0">
                <a:solidFill>
                  <a:schemeClr val="bg1"/>
                </a:solidFill>
              </a:rPr>
              <a:t>null</a:t>
            </a:r>
            <a:r>
              <a:rPr lang="zh-CN" altLang="en" sz="1600" dirty="0">
                <a:solidFill>
                  <a:schemeClr val="bg1"/>
                </a:solidFill>
              </a:rPr>
              <a:t>，</a:t>
            </a:r>
            <a:r>
              <a:rPr lang="zh-CN" altLang="en-US" sz="1600" dirty="0">
                <a:solidFill>
                  <a:schemeClr val="bg1"/>
                </a:solidFill>
              </a:rPr>
              <a:t>则为无限列表。</a:t>
            </a:r>
            <a:endParaRPr lang="en-US" altLang="zh-CN" sz="1600" dirty="0">
              <a:solidFill>
                <a:schemeClr val="bg1"/>
              </a:solidFill>
            </a:endParaRPr>
          </a:p>
          <a:p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 err="1">
                <a:solidFill>
                  <a:schemeClr val="bg1"/>
                </a:solidFill>
              </a:rPr>
              <a:t>separetorBuilder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zh-CN" altLang="en-US" sz="1600" dirty="0">
                <a:solidFill>
                  <a:schemeClr val="bg1"/>
                </a:solidFill>
              </a:rPr>
              <a:t>列表项分割组件的构建器，执行后返回一个用来分割的</a:t>
            </a:r>
            <a:r>
              <a:rPr lang="en-US" altLang="zh-CN" sz="1600" dirty="0">
                <a:solidFill>
                  <a:schemeClr val="bg1"/>
                </a:solidFill>
              </a:rPr>
              <a:t>Widget</a:t>
            </a:r>
            <a:r>
              <a:rPr lang="zh-CN" altLang="en-US" sz="1600" dirty="0">
                <a:solidFill>
                  <a:schemeClr val="bg1"/>
                </a:solidFill>
              </a:rPr>
              <a:t>。</a:t>
            </a:r>
          </a:p>
          <a:p>
            <a:br>
              <a:rPr lang="zh-CN" altLang="en-US" sz="1400" dirty="0">
                <a:solidFill>
                  <a:schemeClr val="bg1"/>
                </a:solidFill>
              </a:rPr>
            </a:b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EB6358C-19EE-E545-9062-A28A30FBBFBB}"/>
              </a:ext>
            </a:extLst>
          </p:cNvPr>
          <p:cNvSpPr txBox="1"/>
          <p:nvPr/>
        </p:nvSpPr>
        <p:spPr>
          <a:xfrm>
            <a:off x="4189046" y="36732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5CCB22C-E1E6-C042-A890-2D9B7DA182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724" y="1351339"/>
            <a:ext cx="4402992" cy="899003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EB1FFD36-7BF5-C946-B69C-66DD71C689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3725" y="2526205"/>
            <a:ext cx="4402992" cy="106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9153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Flutter</a:t>
            </a:r>
            <a:r>
              <a:rPr kumimoji="1" lang="zh-CN" altLang="en-US" dirty="0"/>
              <a:t> </a:t>
            </a:r>
            <a:r>
              <a:rPr kumimoji="1" lang="en-US" altLang="zh-CN" dirty="0"/>
              <a:t>Introduction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224855" y="1137444"/>
            <a:ext cx="11756130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altLang="zh-CN" dirty="0">
                <a:solidFill>
                  <a:schemeClr val="bg1"/>
                </a:solidFill>
              </a:rPr>
              <a:t>Flutter </a:t>
            </a:r>
            <a:r>
              <a:rPr lang="zh-CN" altLang="en-US" dirty="0">
                <a:solidFill>
                  <a:schemeClr val="bg1"/>
                </a:solidFill>
              </a:rPr>
              <a:t>是 </a:t>
            </a:r>
            <a:r>
              <a:rPr lang="en" altLang="zh-CN" dirty="0">
                <a:solidFill>
                  <a:schemeClr val="bg1"/>
                </a:solidFill>
              </a:rPr>
              <a:t>Google 2017</a:t>
            </a:r>
            <a:r>
              <a:rPr lang="zh-CN" altLang="en-US" dirty="0">
                <a:solidFill>
                  <a:schemeClr val="bg1"/>
                </a:solidFill>
              </a:rPr>
              <a:t>年 在 </a:t>
            </a:r>
            <a:r>
              <a:rPr lang="en" altLang="zh-CN" dirty="0">
                <a:solidFill>
                  <a:schemeClr val="bg1"/>
                </a:solidFill>
              </a:rPr>
              <a:t>Google I/O </a:t>
            </a:r>
            <a:r>
              <a:rPr lang="zh-CN" altLang="en-US" dirty="0">
                <a:solidFill>
                  <a:schemeClr val="bg1"/>
                </a:solidFill>
              </a:rPr>
              <a:t>大会上推出的一款用于</a:t>
            </a:r>
            <a:r>
              <a:rPr lang="zh-CN" altLang="en-US" b="1" dirty="0">
                <a:solidFill>
                  <a:schemeClr val="bg1"/>
                </a:solidFill>
              </a:rPr>
              <a:t>跨平台、高性能的移动应用框架</a:t>
            </a:r>
            <a:r>
              <a:rPr lang="zh-CN" altLang="en-US" dirty="0">
                <a:solidFill>
                  <a:schemeClr val="bg1"/>
                </a:solidFill>
              </a:rPr>
              <a:t>。</a:t>
            </a:r>
            <a:endParaRPr lang="en-US" altLang="zh-CN" dirty="0">
              <a:solidFill>
                <a:schemeClr val="bg1"/>
              </a:solidFill>
            </a:endParaRPr>
          </a:p>
          <a:p>
            <a:endParaRPr lang="zh-CN" altLang="en-US" dirty="0">
              <a:solidFill>
                <a:schemeClr val="bg1"/>
              </a:solidFill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sz="2400" dirty="0">
                <a:solidFill>
                  <a:schemeClr val="bg1"/>
                </a:solidFill>
              </a:rPr>
              <a:t>跨平台</a:t>
            </a:r>
            <a:endParaRPr lang="en-US" altLang="zh-CN" sz="2400" dirty="0">
              <a:solidFill>
                <a:schemeClr val="bg1"/>
              </a:solidFill>
            </a:endParaRPr>
          </a:p>
          <a:p>
            <a:r>
              <a:rPr lang="zh-CN" altLang="en-US" dirty="0">
                <a:solidFill>
                  <a:schemeClr val="bg1"/>
                </a:solidFill>
              </a:rPr>
              <a:t>对比其他移动端开发手段，</a:t>
            </a:r>
            <a:r>
              <a:rPr lang="en" altLang="zh-CN" dirty="0">
                <a:solidFill>
                  <a:schemeClr val="bg1"/>
                </a:solidFill>
              </a:rPr>
              <a:t>Flutter </a:t>
            </a:r>
            <a:r>
              <a:rPr lang="zh-CN" altLang="en-US" dirty="0">
                <a:solidFill>
                  <a:schemeClr val="bg1"/>
                </a:solidFill>
              </a:rPr>
              <a:t>使用</a:t>
            </a:r>
            <a:r>
              <a:rPr lang="zh-CN" altLang="en-US" b="1" dirty="0">
                <a:solidFill>
                  <a:schemeClr val="bg1"/>
                </a:solidFill>
              </a:rPr>
              <a:t>自绘</a:t>
            </a:r>
            <a:r>
              <a:rPr lang="en" altLang="zh-CN" b="1" dirty="0">
                <a:solidFill>
                  <a:schemeClr val="bg1"/>
                </a:solidFill>
              </a:rPr>
              <a:t>UI + </a:t>
            </a:r>
            <a:r>
              <a:rPr lang="zh-CN" altLang="en-US" b="1" dirty="0">
                <a:solidFill>
                  <a:schemeClr val="bg1"/>
                </a:solidFill>
              </a:rPr>
              <a:t>原生</a:t>
            </a:r>
            <a:r>
              <a:rPr lang="zh-CN" altLang="en-US" dirty="0">
                <a:solidFill>
                  <a:schemeClr val="bg1"/>
                </a:solidFill>
              </a:rPr>
              <a:t>，因为是自绘</a:t>
            </a:r>
            <a:r>
              <a:rPr lang="en" altLang="zh-CN" dirty="0">
                <a:solidFill>
                  <a:schemeClr val="bg1"/>
                </a:solidFill>
              </a:rPr>
              <a:t>UI</a:t>
            </a:r>
            <a:r>
              <a:rPr lang="zh-CN" altLang="en" dirty="0">
                <a:solidFill>
                  <a:schemeClr val="bg1"/>
                </a:solidFill>
              </a:rPr>
              <a:t>， </a:t>
            </a:r>
            <a:r>
              <a:rPr lang="zh-CN" altLang="en-US" dirty="0">
                <a:solidFill>
                  <a:schemeClr val="bg1"/>
                </a:solidFill>
              </a:rPr>
              <a:t>所以可以确保在</a:t>
            </a:r>
            <a:r>
              <a:rPr lang="zh-CN" altLang="en-US" b="1" dirty="0">
                <a:solidFill>
                  <a:schemeClr val="bg1"/>
                </a:solidFill>
              </a:rPr>
              <a:t>多平台上 </a:t>
            </a:r>
            <a:r>
              <a:rPr lang="en" altLang="zh-CN" b="1" dirty="0">
                <a:solidFill>
                  <a:schemeClr val="bg1"/>
                </a:solidFill>
              </a:rPr>
              <a:t>UI </a:t>
            </a:r>
            <a:r>
              <a:rPr lang="zh-CN" altLang="en-US" b="1" dirty="0">
                <a:solidFill>
                  <a:schemeClr val="bg1"/>
                </a:solidFill>
              </a:rPr>
              <a:t>保持一致</a:t>
            </a:r>
            <a:r>
              <a:rPr lang="zh-CN" altLang="en-US" dirty="0">
                <a:solidFill>
                  <a:schemeClr val="bg1"/>
                </a:solidFill>
              </a:rPr>
              <a:t>。</a:t>
            </a:r>
            <a:endParaRPr lang="en-US" altLang="zh-CN" dirty="0">
              <a:solidFill>
                <a:schemeClr val="bg1"/>
              </a:solidFill>
            </a:endParaRPr>
          </a:p>
          <a:p>
            <a:endParaRPr lang="zh-CN" altLang="en-US" dirty="0">
              <a:solidFill>
                <a:schemeClr val="bg1"/>
              </a:solidFill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sz="2400" dirty="0">
                <a:solidFill>
                  <a:schemeClr val="bg1"/>
                </a:solidFill>
              </a:rPr>
              <a:t>高性能</a:t>
            </a:r>
            <a:endParaRPr lang="en-US" altLang="zh-CN" sz="2400" dirty="0">
              <a:solidFill>
                <a:schemeClr val="bg1"/>
              </a:solidFill>
            </a:endParaRPr>
          </a:p>
          <a:p>
            <a:r>
              <a:rPr lang="zh-CN" altLang="en-US" dirty="0">
                <a:solidFill>
                  <a:schemeClr val="bg1"/>
                </a:solidFill>
              </a:rPr>
              <a:t>同样因为使用自绘</a:t>
            </a:r>
            <a:r>
              <a:rPr lang="en" altLang="zh-CN" dirty="0">
                <a:solidFill>
                  <a:schemeClr val="bg1"/>
                </a:solidFill>
              </a:rPr>
              <a:t>UI + </a:t>
            </a:r>
            <a:r>
              <a:rPr lang="zh-CN" altLang="en-US" dirty="0">
                <a:solidFill>
                  <a:schemeClr val="bg1"/>
                </a:solidFill>
              </a:rPr>
              <a:t>原生，对比 </a:t>
            </a:r>
            <a:r>
              <a:rPr lang="en" altLang="zh-CN" dirty="0">
                <a:solidFill>
                  <a:schemeClr val="bg1"/>
                </a:solidFill>
              </a:rPr>
              <a:t>H5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en" altLang="zh-CN" dirty="0">
                <a:solidFill>
                  <a:schemeClr val="bg1"/>
                </a:solidFill>
              </a:rPr>
              <a:t>WebView</a:t>
            </a:r>
            <a:r>
              <a:rPr lang="zh-CN" altLang="en" dirty="0">
                <a:solidFill>
                  <a:schemeClr val="bg1"/>
                </a:solidFill>
              </a:rPr>
              <a:t>） </a:t>
            </a:r>
            <a:r>
              <a:rPr lang="en" altLang="zh-CN" dirty="0">
                <a:solidFill>
                  <a:schemeClr val="bg1"/>
                </a:solidFill>
              </a:rPr>
              <a:t>+ </a:t>
            </a:r>
            <a:r>
              <a:rPr lang="zh-CN" altLang="en-US" dirty="0">
                <a:solidFill>
                  <a:schemeClr val="bg1"/>
                </a:solidFill>
              </a:rPr>
              <a:t>原生（</a:t>
            </a:r>
            <a:r>
              <a:rPr lang="en" altLang="zh-CN" dirty="0">
                <a:solidFill>
                  <a:schemeClr val="bg1"/>
                </a:solidFill>
              </a:rPr>
              <a:t>Ionic</a:t>
            </a:r>
            <a:r>
              <a:rPr lang="zh-CN" altLang="en" dirty="0">
                <a:solidFill>
                  <a:schemeClr val="bg1"/>
                </a:solidFill>
              </a:rPr>
              <a:t>），</a:t>
            </a:r>
            <a:r>
              <a:rPr lang="zh-CN" altLang="en-US" dirty="0">
                <a:solidFill>
                  <a:schemeClr val="bg1"/>
                </a:solidFill>
              </a:rPr>
              <a:t>或者 </a:t>
            </a:r>
            <a:r>
              <a:rPr lang="en" altLang="zh-CN" dirty="0">
                <a:solidFill>
                  <a:schemeClr val="bg1"/>
                </a:solidFill>
              </a:rPr>
              <a:t>React</a:t>
            </a:r>
            <a:r>
              <a:rPr lang="zh-CN" altLang="en-US" dirty="0">
                <a:solidFill>
                  <a:schemeClr val="bg1"/>
                </a:solidFill>
              </a:rPr>
              <a:t> </a:t>
            </a:r>
            <a:r>
              <a:rPr lang="en" altLang="zh-CN" dirty="0">
                <a:solidFill>
                  <a:schemeClr val="bg1"/>
                </a:solidFill>
              </a:rPr>
              <a:t>Native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en-US" altLang="zh-CN" dirty="0">
                <a:solidFill>
                  <a:schemeClr val="bg1"/>
                </a:solidFill>
              </a:rPr>
              <a:t>JS</a:t>
            </a:r>
            <a:r>
              <a:rPr lang="en" altLang="zh-CN" dirty="0">
                <a:solidFill>
                  <a:schemeClr val="bg1"/>
                </a:solidFill>
              </a:rPr>
              <a:t> + </a:t>
            </a:r>
            <a:r>
              <a:rPr lang="zh-CN" altLang="en-US" dirty="0">
                <a:solidFill>
                  <a:schemeClr val="bg1"/>
                </a:solidFill>
              </a:rPr>
              <a:t>原生），</a:t>
            </a:r>
            <a:r>
              <a:rPr lang="en" altLang="zh-CN" b="1" dirty="0">
                <a:solidFill>
                  <a:schemeClr val="bg1"/>
                </a:solidFill>
              </a:rPr>
              <a:t>Flutter </a:t>
            </a:r>
            <a:r>
              <a:rPr lang="zh-CN" altLang="en-US" b="1" dirty="0">
                <a:solidFill>
                  <a:schemeClr val="bg1"/>
                </a:solidFill>
              </a:rPr>
              <a:t>省去了中间通信的性能损失以及控件树的转换过程，所以性能更高</a:t>
            </a:r>
            <a:r>
              <a:rPr lang="zh-CN" altLang="en-US" dirty="0">
                <a:solidFill>
                  <a:schemeClr val="bg1"/>
                </a:solidFill>
              </a:rPr>
              <a:t>。</a:t>
            </a:r>
            <a:endParaRPr lang="en-US" altLang="zh-CN" dirty="0">
              <a:solidFill>
                <a:schemeClr val="bg1"/>
              </a:solidFill>
            </a:endParaRPr>
          </a:p>
          <a:p>
            <a:endParaRPr lang="zh-CN" altLang="en-US" dirty="0">
              <a:solidFill>
                <a:schemeClr val="bg1"/>
              </a:solidFill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sz="2400" dirty="0">
                <a:solidFill>
                  <a:schemeClr val="bg1"/>
                </a:solidFill>
              </a:rPr>
              <a:t>开发效率</a:t>
            </a:r>
            <a:endParaRPr lang="en-US" altLang="zh-CN" sz="2400" dirty="0">
              <a:solidFill>
                <a:schemeClr val="bg1"/>
              </a:solidFill>
            </a:endParaRPr>
          </a:p>
          <a:p>
            <a:r>
              <a:rPr lang="zh-CN" altLang="en-US" dirty="0">
                <a:solidFill>
                  <a:schemeClr val="bg1"/>
                </a:solidFill>
              </a:rPr>
              <a:t>得益于 </a:t>
            </a:r>
            <a:r>
              <a:rPr lang="en" altLang="zh-CN" dirty="0">
                <a:solidFill>
                  <a:schemeClr val="bg1"/>
                </a:solidFill>
              </a:rPr>
              <a:t>Dart </a:t>
            </a:r>
            <a:r>
              <a:rPr lang="zh-CN" altLang="en-US" dirty="0">
                <a:solidFill>
                  <a:schemeClr val="bg1"/>
                </a:solidFill>
              </a:rPr>
              <a:t>的语言特性，</a:t>
            </a:r>
            <a:r>
              <a:rPr lang="zh-CN" altLang="en-US" b="1" dirty="0">
                <a:solidFill>
                  <a:schemeClr val="bg1"/>
                </a:solidFill>
              </a:rPr>
              <a:t>开发阶段即时编译</a:t>
            </a:r>
            <a:r>
              <a:rPr lang="en" altLang="zh-CN" b="1" dirty="0">
                <a:solidFill>
                  <a:schemeClr val="bg1"/>
                </a:solidFill>
              </a:rPr>
              <a:t>JIT</a:t>
            </a:r>
            <a:r>
              <a:rPr lang="zh-CN" altLang="en" b="1" dirty="0">
                <a:solidFill>
                  <a:schemeClr val="bg1"/>
                </a:solidFill>
              </a:rPr>
              <a:t>（</a:t>
            </a:r>
            <a:r>
              <a:rPr lang="en" altLang="zh-CN" b="1" dirty="0">
                <a:solidFill>
                  <a:schemeClr val="bg1"/>
                </a:solidFill>
              </a:rPr>
              <a:t>Just in time</a:t>
            </a:r>
            <a:r>
              <a:rPr lang="zh-CN" altLang="en" b="1" dirty="0">
                <a:solidFill>
                  <a:schemeClr val="bg1"/>
                </a:solidFill>
              </a:rPr>
              <a:t>）</a:t>
            </a:r>
            <a:r>
              <a:rPr lang="zh-CN" altLang="en-US" b="1" dirty="0">
                <a:solidFill>
                  <a:schemeClr val="bg1"/>
                </a:solidFill>
              </a:rPr>
              <a:t>可以使用热重载（</a:t>
            </a:r>
            <a:r>
              <a:rPr lang="en" altLang="zh-CN" b="1" dirty="0">
                <a:solidFill>
                  <a:schemeClr val="bg1"/>
                </a:solidFill>
              </a:rPr>
              <a:t>hot reload</a:t>
            </a:r>
            <a:r>
              <a:rPr lang="zh-CN" altLang="en" b="1" dirty="0">
                <a:solidFill>
                  <a:schemeClr val="bg1"/>
                </a:solidFill>
              </a:rPr>
              <a:t>）</a:t>
            </a:r>
            <a:r>
              <a:rPr lang="zh-CN" altLang="en-US" b="1" dirty="0">
                <a:solidFill>
                  <a:schemeClr val="bg1"/>
                </a:solidFill>
              </a:rPr>
              <a:t>功能，减少每次修改都需要重新打包的时间损耗</a:t>
            </a:r>
            <a:r>
              <a:rPr lang="zh-CN" altLang="en-US" dirty="0">
                <a:solidFill>
                  <a:schemeClr val="bg1"/>
                </a:solidFill>
              </a:rPr>
              <a:t>。发版阶段使用提前编译</a:t>
            </a:r>
            <a:r>
              <a:rPr lang="en" altLang="zh-CN" dirty="0">
                <a:solidFill>
                  <a:schemeClr val="bg1"/>
                </a:solidFill>
              </a:rPr>
              <a:t>AOT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en" altLang="zh-CN" dirty="0">
                <a:solidFill>
                  <a:schemeClr val="bg1"/>
                </a:solidFill>
              </a:rPr>
              <a:t>Ahead of time</a:t>
            </a:r>
            <a:r>
              <a:rPr lang="zh-CN" altLang="en" dirty="0">
                <a:solidFill>
                  <a:schemeClr val="bg1"/>
                </a:solidFill>
              </a:rPr>
              <a:t>）</a:t>
            </a:r>
            <a:r>
              <a:rPr lang="zh-CN" altLang="en-US" dirty="0">
                <a:solidFill>
                  <a:schemeClr val="bg1"/>
                </a:solidFill>
              </a:rPr>
              <a:t>保证生成的代码性能。</a:t>
            </a: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9217993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Di</a:t>
            </a:r>
            <a:r>
              <a:rPr kumimoji="1" lang="en-US" altLang="zh-CN" dirty="0"/>
              <a:t>rectory</a:t>
            </a:r>
            <a:r>
              <a:rPr kumimoji="1" lang="zh-CN" altLang="en-US" dirty="0"/>
              <a:t> </a:t>
            </a:r>
            <a:r>
              <a:rPr kumimoji="1" lang="en-US" altLang="zh-CN" dirty="0"/>
              <a:t>Structure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3227754" y="1137444"/>
            <a:ext cx="8753231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Flutter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中，尽可能将 </a:t>
            </a:r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UI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或者 功能 拆分成可以复用，重新组织的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Widge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（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组件），然后利用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Widge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（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组件）组成页面。</a:t>
            </a:r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Components</a:t>
            </a:r>
          </a:p>
          <a:p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   用来存放各种 </a:t>
            </a:r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UI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Widge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（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组件） 和 功能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Widge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（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组件）。其中的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Widge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（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组件）为了复用，尽可能的避免与数据关联。</a:t>
            </a:r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Containers</a:t>
            </a:r>
          </a:p>
          <a:p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   画面级的文件夹，里面存放的是最后需要渲染出来的页面，通过 </a:t>
            </a:r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Components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中的复用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Widge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（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组件）组合而成，页面是需要与数据关联的。</a:t>
            </a:r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Data-Model</a:t>
            </a:r>
          </a:p>
          <a:p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   存放数据管理模型的文件夹，通常存放有页面数据以及更新数据方法的文件。</a:t>
            </a:r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Model</a:t>
            </a:r>
          </a:p>
          <a:p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   数据的类模型。</a:t>
            </a:r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E15CD71-EBCB-314E-83C0-1CF3768C2B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410" y="1285783"/>
            <a:ext cx="2136260" cy="4880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3106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Flutter</a:t>
            </a:r>
            <a:r>
              <a:rPr kumimoji="1" lang="zh-CN" altLang="en-US" dirty="0"/>
              <a:t> </a:t>
            </a:r>
            <a:r>
              <a:rPr kumimoji="1" lang="en-US" altLang="zh-CN" dirty="0"/>
              <a:t>Widge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224855" y="1137444"/>
            <a:ext cx="11756130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altLang="zh-CN" sz="1400" dirty="0">
                <a:solidFill>
                  <a:schemeClr val="bg1"/>
                </a:solidFill>
              </a:rPr>
              <a:t>Flutter </a:t>
            </a:r>
            <a:r>
              <a:rPr lang="zh-CN" altLang="en-US" sz="1400" dirty="0">
                <a:solidFill>
                  <a:schemeClr val="bg1"/>
                </a:solidFill>
              </a:rPr>
              <a:t>中几乎所有的对象都是 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-US" sz="1400" dirty="0">
                <a:solidFill>
                  <a:schemeClr val="bg1"/>
                </a:solidFill>
              </a:rPr>
              <a:t>（组件）</a:t>
            </a:r>
            <a:r>
              <a:rPr lang="zh-CN" altLang="en" sz="1400" dirty="0">
                <a:solidFill>
                  <a:schemeClr val="bg1"/>
                </a:solidFill>
              </a:rPr>
              <a:t>。</a:t>
            </a:r>
            <a:r>
              <a:rPr lang="en" altLang="zh-CN" sz="1400" dirty="0">
                <a:solidFill>
                  <a:schemeClr val="bg1"/>
                </a:solidFill>
              </a:rPr>
              <a:t>Widget </a:t>
            </a:r>
            <a:r>
              <a:rPr lang="zh-CN" altLang="en-US" sz="1400" dirty="0">
                <a:solidFill>
                  <a:schemeClr val="bg1"/>
                </a:solidFill>
              </a:rPr>
              <a:t>的功能是描述一个 </a:t>
            </a:r>
            <a:r>
              <a:rPr lang="en" altLang="zh-CN" sz="1400" dirty="0">
                <a:solidFill>
                  <a:schemeClr val="bg1"/>
                </a:solidFill>
              </a:rPr>
              <a:t>UI </a:t>
            </a:r>
            <a:r>
              <a:rPr lang="zh-CN" altLang="en-US" sz="1400" dirty="0">
                <a:solidFill>
                  <a:schemeClr val="bg1"/>
                </a:solidFill>
              </a:rPr>
              <a:t>元素的配置数据，而真正绘制到屏幕上是通过 </a:t>
            </a:r>
            <a:r>
              <a:rPr lang="en" altLang="zh-CN" sz="1400" dirty="0">
                <a:solidFill>
                  <a:schemeClr val="bg1"/>
                </a:solidFill>
              </a:rPr>
              <a:t>Widget </a:t>
            </a:r>
            <a:r>
              <a:rPr lang="zh-CN" altLang="en-US" sz="1400" dirty="0">
                <a:solidFill>
                  <a:schemeClr val="bg1"/>
                </a:solidFill>
              </a:rPr>
              <a:t>创建出来的 </a:t>
            </a:r>
            <a:r>
              <a:rPr lang="en" altLang="zh-CN" sz="1400" dirty="0">
                <a:solidFill>
                  <a:schemeClr val="bg1"/>
                </a:solidFill>
              </a:rPr>
              <a:t>Element</a:t>
            </a:r>
            <a:r>
              <a:rPr lang="zh-CN" altLang="en" sz="1400" dirty="0">
                <a:solidFill>
                  <a:schemeClr val="bg1"/>
                </a:solidFill>
              </a:rPr>
              <a:t>。</a:t>
            </a:r>
            <a:r>
              <a:rPr lang="en" altLang="zh-CN" sz="1400" dirty="0">
                <a:solidFill>
                  <a:schemeClr val="bg1"/>
                </a:solidFill>
              </a:rPr>
              <a:t>Flutter </a:t>
            </a:r>
            <a:r>
              <a:rPr lang="zh-CN" altLang="en-US" sz="1400" dirty="0">
                <a:solidFill>
                  <a:schemeClr val="bg1"/>
                </a:solidFill>
              </a:rPr>
              <a:t>中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根据提供的功能大概有如下几个分类：</a:t>
            </a:r>
            <a:endParaRPr lang="en-US" altLang="zh-CN" sz="1400" dirty="0">
              <a:solidFill>
                <a:schemeClr val="bg1"/>
              </a:solidFill>
            </a:endParaRPr>
          </a:p>
          <a:p>
            <a:endParaRPr lang="zh-CN" altLang="en-US" sz="1400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基础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" altLang="zh-CN" sz="1400" dirty="0">
                <a:solidFill>
                  <a:schemeClr val="bg1"/>
                </a:solidFill>
              </a:rPr>
              <a:t>Text, Button, Icon, Image, Form</a:t>
            </a:r>
            <a:r>
              <a:rPr lang="en-US" altLang="zh-CN" sz="1400" dirty="0">
                <a:solidFill>
                  <a:schemeClr val="bg1"/>
                </a:solidFill>
              </a:rPr>
              <a:t>,</a:t>
            </a:r>
            <a:r>
              <a:rPr lang="en" altLang="zh-CN" sz="1400" dirty="0">
                <a:solidFill>
                  <a:schemeClr val="bg1"/>
                </a:solidFill>
              </a:rPr>
              <a:t> Input</a:t>
            </a:r>
          </a:p>
          <a:p>
            <a:endParaRPr lang="zh-CN" altLang="en" sz="1400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布局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" altLang="zh-CN" sz="1400" dirty="0">
                <a:solidFill>
                  <a:schemeClr val="bg1"/>
                </a:solidFill>
              </a:rPr>
              <a:t>Row, Column, Flex, Wrap, Flow, Stack, Position, Align</a:t>
            </a:r>
          </a:p>
          <a:p>
            <a:endParaRPr lang="zh-CN" altLang="en" sz="1400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容器类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" altLang="zh-CN" sz="1400" dirty="0">
                <a:solidFill>
                  <a:schemeClr val="bg1"/>
                </a:solidFill>
              </a:rPr>
              <a:t>Container, Padding, </a:t>
            </a:r>
            <a:r>
              <a:rPr lang="en" altLang="zh-CN" sz="1400" dirty="0" err="1">
                <a:solidFill>
                  <a:schemeClr val="bg1"/>
                </a:solidFill>
              </a:rPr>
              <a:t>DecoratedBox</a:t>
            </a:r>
            <a:r>
              <a:rPr lang="en" altLang="zh-CN" sz="1400" dirty="0">
                <a:solidFill>
                  <a:schemeClr val="bg1"/>
                </a:solidFill>
              </a:rPr>
              <a:t>, Clip, Scaffold</a:t>
            </a:r>
          </a:p>
          <a:p>
            <a:endParaRPr lang="en" altLang="zh-CN" sz="1400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滚动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" altLang="zh-CN" sz="1400" dirty="0" err="1">
                <a:solidFill>
                  <a:schemeClr val="bg1"/>
                </a:solidFill>
              </a:rPr>
              <a:t>SingleChildScrollView,ListView</a:t>
            </a:r>
            <a:r>
              <a:rPr lang="en" altLang="zh-CN" sz="1400" dirty="0">
                <a:solidFill>
                  <a:schemeClr val="bg1"/>
                </a:solidFill>
              </a:rPr>
              <a:t>, </a:t>
            </a:r>
            <a:r>
              <a:rPr lang="en" altLang="zh-CN" sz="1400" dirty="0" err="1">
                <a:solidFill>
                  <a:schemeClr val="bg1"/>
                </a:solidFill>
              </a:rPr>
              <a:t>GridView</a:t>
            </a:r>
            <a:r>
              <a:rPr lang="en" altLang="zh-CN" sz="1400" dirty="0">
                <a:solidFill>
                  <a:schemeClr val="bg1"/>
                </a:solidFill>
              </a:rPr>
              <a:t>, </a:t>
            </a:r>
            <a:r>
              <a:rPr lang="en" altLang="zh-CN" sz="1400" dirty="0" err="1">
                <a:solidFill>
                  <a:schemeClr val="bg1"/>
                </a:solidFill>
              </a:rPr>
              <a:t>CustomScrollView</a:t>
            </a:r>
            <a:endParaRPr lang="en" altLang="zh-CN" sz="1400" dirty="0">
              <a:solidFill>
                <a:schemeClr val="bg1"/>
              </a:solidFill>
            </a:endParaRPr>
          </a:p>
          <a:p>
            <a:endParaRPr lang="en" altLang="zh-CN" sz="1400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功能型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" altLang="zh-CN" sz="1400" dirty="0" err="1">
                <a:solidFill>
                  <a:schemeClr val="bg1"/>
                </a:solidFill>
              </a:rPr>
              <a:t>InheritedWidget</a:t>
            </a:r>
            <a:r>
              <a:rPr lang="en" altLang="zh-CN" sz="1400" dirty="0">
                <a:solidFill>
                  <a:schemeClr val="bg1"/>
                </a:solidFill>
              </a:rPr>
              <a:t>, Theme, Dialog, </a:t>
            </a:r>
            <a:r>
              <a:rPr lang="en" altLang="zh-CN" sz="1400" dirty="0" err="1">
                <a:solidFill>
                  <a:schemeClr val="bg1"/>
                </a:solidFill>
              </a:rPr>
              <a:t>FutureBuilder</a:t>
            </a:r>
            <a:r>
              <a:rPr lang="en" altLang="zh-CN" sz="1400" dirty="0">
                <a:solidFill>
                  <a:schemeClr val="bg1"/>
                </a:solidFill>
              </a:rPr>
              <a:t>, </a:t>
            </a:r>
            <a:r>
              <a:rPr lang="en" altLang="zh-CN" sz="1400" dirty="0" err="1">
                <a:solidFill>
                  <a:schemeClr val="bg1"/>
                </a:solidFill>
              </a:rPr>
              <a:t>StreamBuilder</a:t>
            </a:r>
            <a:r>
              <a:rPr lang="en" altLang="zh-CN" sz="1400" dirty="0">
                <a:solidFill>
                  <a:schemeClr val="bg1"/>
                </a:solidFill>
              </a:rPr>
              <a:t>, </a:t>
            </a:r>
            <a:r>
              <a:rPr lang="en" altLang="zh-CN" sz="1400" dirty="0" err="1">
                <a:solidFill>
                  <a:schemeClr val="bg1"/>
                </a:solidFill>
              </a:rPr>
              <a:t>GestureDetector</a:t>
            </a:r>
            <a:endParaRPr lang="en" altLang="zh-CN" sz="1400" dirty="0">
              <a:solidFill>
                <a:schemeClr val="bg1"/>
              </a:solidFill>
            </a:endParaRPr>
          </a:p>
          <a:p>
            <a:endParaRPr lang="zh-CN" altLang="en" sz="1400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动画类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</a:t>
            </a:r>
            <a:endParaRPr lang="en-US" altLang="zh-CN" sz="1400" dirty="0">
              <a:solidFill>
                <a:schemeClr val="bg1"/>
              </a:solidFill>
            </a:endParaRPr>
          </a:p>
          <a:p>
            <a:endParaRPr lang="zh-CN" altLang="en-US" sz="1400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其中 </a:t>
            </a:r>
            <a:r>
              <a:rPr lang="en" altLang="zh-CN" sz="1400" dirty="0">
                <a:solidFill>
                  <a:schemeClr val="bg1"/>
                </a:solidFill>
              </a:rPr>
              <a:t>Scaffold</a:t>
            </a:r>
            <a:r>
              <a:rPr lang="zh-CN" altLang="en" sz="1400" dirty="0">
                <a:solidFill>
                  <a:schemeClr val="bg1"/>
                </a:solidFill>
              </a:rPr>
              <a:t>， </a:t>
            </a:r>
            <a:r>
              <a:rPr lang="en" altLang="zh-CN" sz="1400" dirty="0">
                <a:solidFill>
                  <a:schemeClr val="bg1"/>
                </a:solidFill>
              </a:rPr>
              <a:t>Button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en" altLang="zh-CN" sz="1400" dirty="0" err="1">
                <a:solidFill>
                  <a:schemeClr val="bg1"/>
                </a:solidFill>
              </a:rPr>
              <a:t>FlatButton</a:t>
            </a:r>
            <a:r>
              <a:rPr lang="en" altLang="zh-CN" sz="1400" dirty="0">
                <a:solidFill>
                  <a:schemeClr val="bg1"/>
                </a:solidFill>
              </a:rPr>
              <a:t>, </a:t>
            </a:r>
            <a:r>
              <a:rPr lang="en" altLang="zh-CN" sz="1400" dirty="0" err="1">
                <a:solidFill>
                  <a:schemeClr val="bg1"/>
                </a:solidFill>
              </a:rPr>
              <a:t>RaisedButton</a:t>
            </a:r>
            <a:r>
              <a:rPr lang="zh-CN" altLang="en" sz="1400" dirty="0">
                <a:solidFill>
                  <a:schemeClr val="bg1"/>
                </a:solidFill>
              </a:rPr>
              <a:t>） </a:t>
            </a:r>
            <a:r>
              <a:rPr lang="zh-CN" altLang="en-US" sz="1400" dirty="0">
                <a:solidFill>
                  <a:schemeClr val="bg1"/>
                </a:solidFill>
              </a:rPr>
              <a:t>等一些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默认是由 </a:t>
            </a:r>
            <a:r>
              <a:rPr lang="en" altLang="zh-CN" sz="1400" dirty="0">
                <a:solidFill>
                  <a:schemeClr val="bg1"/>
                </a:solidFill>
              </a:rPr>
              <a:t>Material UI </a:t>
            </a:r>
            <a:r>
              <a:rPr lang="zh-CN" altLang="en-US" sz="1400" dirty="0">
                <a:solidFill>
                  <a:schemeClr val="bg1"/>
                </a:solidFill>
              </a:rPr>
              <a:t>库提供的，使用的时候一定要在 </a:t>
            </a:r>
            <a:r>
              <a:rPr lang="en" altLang="zh-CN" sz="1400" dirty="0" err="1">
                <a:solidFill>
                  <a:schemeClr val="bg1"/>
                </a:solidFill>
              </a:rPr>
              <a:t>MaterialApp</a:t>
            </a:r>
            <a:r>
              <a:rPr lang="en" altLang="zh-CN" sz="1400" dirty="0">
                <a:solidFill>
                  <a:schemeClr val="bg1"/>
                </a:solidFill>
              </a:rPr>
              <a:t> </a:t>
            </a:r>
            <a:r>
              <a:rPr lang="zh-CN" altLang="en-US" sz="1400" dirty="0">
                <a:solidFill>
                  <a:schemeClr val="bg1"/>
                </a:solidFill>
              </a:rPr>
              <a:t>下使用，否则可能会报错。本质上它们也是由一些基础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组合而成的。</a:t>
            </a:r>
          </a:p>
          <a:p>
            <a:endParaRPr lang="zh-CN" altLang="en-US" sz="1400" dirty="0">
              <a:solidFill>
                <a:schemeClr val="bg1"/>
              </a:solidFill>
            </a:endParaRPr>
          </a:p>
          <a:p>
            <a:br>
              <a:rPr lang="zh-CN" altLang="en-US" sz="1400" dirty="0">
                <a:solidFill>
                  <a:schemeClr val="bg1"/>
                </a:solidFill>
              </a:rPr>
            </a:b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19142304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Props</a:t>
            </a:r>
            <a:r>
              <a:rPr kumimoji="1" lang="zh-CN" altLang="en-US" dirty="0"/>
              <a:t> </a:t>
            </a:r>
            <a:r>
              <a:rPr kumimoji="1" lang="en-US" altLang="zh-CN" dirty="0"/>
              <a:t>&amp;</a:t>
            </a:r>
            <a:r>
              <a:rPr kumimoji="1" lang="zh-CN" altLang="en-US" dirty="0"/>
              <a:t> </a:t>
            </a:r>
            <a:r>
              <a:rPr kumimoji="1" lang="en-US" altLang="zh-CN" dirty="0"/>
              <a:t>State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7104185" y="1137444"/>
            <a:ext cx="4876799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什么是 </a:t>
            </a:r>
            <a:r>
              <a:rPr lang="en" altLang="zh-CN" dirty="0">
                <a:solidFill>
                  <a:schemeClr val="bg1"/>
                </a:solidFill>
              </a:rPr>
              <a:t>Props</a:t>
            </a:r>
            <a:r>
              <a:rPr lang="zh-CN" altLang="en" dirty="0">
                <a:solidFill>
                  <a:schemeClr val="bg1"/>
                </a:solidFill>
              </a:rPr>
              <a:t>？</a:t>
            </a:r>
            <a:br>
              <a:rPr lang="zh-CN" altLang="en" dirty="0">
                <a:solidFill>
                  <a:schemeClr val="bg1"/>
                </a:solidFill>
              </a:rPr>
            </a:br>
            <a:r>
              <a:rPr lang="en" altLang="zh-CN" dirty="0">
                <a:solidFill>
                  <a:schemeClr val="bg1"/>
                </a:solidFill>
              </a:rPr>
              <a:t>Props </a:t>
            </a:r>
            <a:r>
              <a:rPr lang="zh-CN" altLang="en-US" dirty="0">
                <a:solidFill>
                  <a:schemeClr val="bg1"/>
                </a:solidFill>
              </a:rPr>
              <a:t>是由 父</a:t>
            </a:r>
            <a:r>
              <a:rPr lang="en" altLang="zh-CN" dirty="0">
                <a:solidFill>
                  <a:schemeClr val="bg1"/>
                </a:solidFill>
              </a:rPr>
              <a:t>Widget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zh-CN" altLang="en-US" dirty="0">
                <a:solidFill>
                  <a:schemeClr val="bg1"/>
                </a:solidFill>
              </a:rPr>
              <a:t>组件） 传递给 子</a:t>
            </a:r>
            <a:r>
              <a:rPr lang="en" altLang="zh-CN" dirty="0">
                <a:solidFill>
                  <a:schemeClr val="bg1"/>
                </a:solidFill>
              </a:rPr>
              <a:t>Widget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zh-CN" altLang="en-US" dirty="0">
                <a:solidFill>
                  <a:schemeClr val="bg1"/>
                </a:solidFill>
              </a:rPr>
              <a:t>组件） 的 </a:t>
            </a:r>
            <a:r>
              <a:rPr lang="zh-CN" altLang="en-US" b="1" dirty="0">
                <a:solidFill>
                  <a:schemeClr val="bg1"/>
                </a:solidFill>
              </a:rPr>
              <a:t>变量或者数据（甚至是函数，方法）</a:t>
            </a:r>
            <a:r>
              <a:rPr lang="zh-CN" altLang="en-US" dirty="0">
                <a:solidFill>
                  <a:schemeClr val="bg1"/>
                </a:solidFill>
              </a:rPr>
              <a:t>，它在子</a:t>
            </a:r>
            <a:r>
              <a:rPr lang="en" altLang="zh-CN" dirty="0">
                <a:solidFill>
                  <a:schemeClr val="bg1"/>
                </a:solidFill>
              </a:rPr>
              <a:t>Widget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zh-CN" altLang="en-US" dirty="0">
                <a:solidFill>
                  <a:schemeClr val="bg1"/>
                </a:solidFill>
              </a:rPr>
              <a:t>组件）构造函数执行初始化时被初始化，初始化后 不能被修改。</a:t>
            </a:r>
            <a:endParaRPr lang="en-US" altLang="zh-CN" dirty="0">
              <a:solidFill>
                <a:schemeClr val="bg1"/>
              </a:solidFill>
            </a:endParaRPr>
          </a:p>
          <a:p>
            <a:endParaRPr lang="zh-CN" altLang="en-US" dirty="0">
              <a:solidFill>
                <a:schemeClr val="bg1"/>
              </a:solidFill>
            </a:endParaRPr>
          </a:p>
          <a:p>
            <a:r>
              <a:rPr lang="zh-CN" altLang="en-US" dirty="0">
                <a:solidFill>
                  <a:schemeClr val="bg1"/>
                </a:solidFill>
              </a:rPr>
              <a:t>什么是 </a:t>
            </a:r>
            <a:r>
              <a:rPr lang="en" altLang="zh-CN" dirty="0">
                <a:solidFill>
                  <a:schemeClr val="bg1"/>
                </a:solidFill>
              </a:rPr>
              <a:t>State</a:t>
            </a:r>
            <a:r>
              <a:rPr lang="zh-CN" altLang="en" dirty="0">
                <a:solidFill>
                  <a:schemeClr val="bg1"/>
                </a:solidFill>
              </a:rPr>
              <a:t>？</a:t>
            </a:r>
            <a:br>
              <a:rPr lang="zh-CN" altLang="en" dirty="0">
                <a:solidFill>
                  <a:schemeClr val="bg1"/>
                </a:solidFill>
              </a:rPr>
            </a:br>
            <a:r>
              <a:rPr lang="en" altLang="zh-CN" dirty="0">
                <a:solidFill>
                  <a:schemeClr val="bg1"/>
                </a:solidFill>
              </a:rPr>
              <a:t>State </a:t>
            </a:r>
            <a:r>
              <a:rPr lang="zh-CN" altLang="en-US" dirty="0">
                <a:solidFill>
                  <a:schemeClr val="bg1"/>
                </a:solidFill>
              </a:rPr>
              <a:t>是由</a:t>
            </a:r>
            <a:r>
              <a:rPr lang="en" altLang="zh-CN" dirty="0">
                <a:solidFill>
                  <a:schemeClr val="bg1"/>
                </a:solidFill>
              </a:rPr>
              <a:t>Widget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zh-CN" altLang="en-US" dirty="0">
                <a:solidFill>
                  <a:schemeClr val="bg1"/>
                </a:solidFill>
              </a:rPr>
              <a:t>组件） </a:t>
            </a:r>
            <a:r>
              <a:rPr lang="zh-CN" altLang="en-US" b="1" dirty="0">
                <a:solidFill>
                  <a:schemeClr val="bg1"/>
                </a:solidFill>
              </a:rPr>
              <a:t>自身管理的变量或者数据</a:t>
            </a:r>
            <a:r>
              <a:rPr lang="zh-CN" altLang="en-US" dirty="0">
                <a:solidFill>
                  <a:schemeClr val="bg1"/>
                </a:solidFill>
              </a:rPr>
              <a:t>， 当 </a:t>
            </a:r>
            <a:r>
              <a:rPr lang="en" altLang="zh-CN" dirty="0">
                <a:solidFill>
                  <a:schemeClr val="bg1"/>
                </a:solidFill>
              </a:rPr>
              <a:t>State </a:t>
            </a:r>
            <a:r>
              <a:rPr lang="zh-CN" altLang="en-US" dirty="0">
                <a:solidFill>
                  <a:schemeClr val="bg1"/>
                </a:solidFill>
              </a:rPr>
              <a:t>变化时（通过 </a:t>
            </a:r>
            <a:r>
              <a:rPr lang="en" altLang="zh-CN" dirty="0" err="1">
                <a:solidFill>
                  <a:schemeClr val="bg1"/>
                </a:solidFill>
              </a:rPr>
              <a:t>setState</a:t>
            </a:r>
            <a:r>
              <a:rPr lang="en" altLang="zh-CN" dirty="0">
                <a:solidFill>
                  <a:schemeClr val="bg1"/>
                </a:solidFill>
              </a:rPr>
              <a:t>()</a:t>
            </a:r>
            <a:r>
              <a:rPr lang="zh-CN" altLang="en" dirty="0">
                <a:solidFill>
                  <a:schemeClr val="bg1"/>
                </a:solidFill>
              </a:rPr>
              <a:t>）， </a:t>
            </a:r>
            <a:r>
              <a:rPr lang="en" altLang="zh-CN" dirty="0">
                <a:solidFill>
                  <a:schemeClr val="bg1"/>
                </a:solidFill>
              </a:rPr>
              <a:t>UI </a:t>
            </a:r>
            <a:r>
              <a:rPr lang="zh-CN" altLang="en-US" dirty="0">
                <a:solidFill>
                  <a:schemeClr val="bg1"/>
                </a:solidFill>
              </a:rPr>
              <a:t>的构建器将会自动的重新渲染对应的 </a:t>
            </a:r>
            <a:r>
              <a:rPr lang="en" altLang="zh-CN" dirty="0">
                <a:solidFill>
                  <a:schemeClr val="bg1"/>
                </a:solidFill>
              </a:rPr>
              <a:t>UI</a:t>
            </a:r>
            <a:r>
              <a:rPr lang="zh-CN" altLang="en-US" dirty="0">
                <a:solidFill>
                  <a:schemeClr val="bg1"/>
                </a:solidFill>
              </a:rPr>
              <a:t>树。</a:t>
            </a:r>
            <a:r>
              <a:rPr lang="en" altLang="zh-CN" dirty="0">
                <a:solidFill>
                  <a:schemeClr val="bg1"/>
                </a:solidFill>
              </a:rPr>
              <a:t>Widget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zh-CN" altLang="en-US" dirty="0">
                <a:solidFill>
                  <a:schemeClr val="bg1"/>
                </a:solidFill>
              </a:rPr>
              <a:t>组件）自身的</a:t>
            </a:r>
            <a:r>
              <a:rPr lang="en" altLang="zh-CN" dirty="0">
                <a:solidFill>
                  <a:schemeClr val="bg1"/>
                </a:solidFill>
              </a:rPr>
              <a:t>State</a:t>
            </a:r>
            <a:r>
              <a:rPr lang="zh-CN" altLang="en-US" dirty="0">
                <a:solidFill>
                  <a:schemeClr val="bg1"/>
                </a:solidFill>
              </a:rPr>
              <a:t>是可变的，而且可以作为变量或者数据传递给子</a:t>
            </a:r>
            <a:r>
              <a:rPr lang="en" altLang="zh-CN" dirty="0">
                <a:solidFill>
                  <a:schemeClr val="bg1"/>
                </a:solidFill>
              </a:rPr>
              <a:t>Widget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zh-CN" altLang="en-US" dirty="0">
                <a:solidFill>
                  <a:schemeClr val="bg1"/>
                </a:solidFill>
              </a:rPr>
              <a:t>组件）。</a:t>
            </a:r>
          </a:p>
          <a:p>
            <a:br>
              <a:rPr lang="zh-CN" altLang="en-US" sz="1400" dirty="0">
                <a:solidFill>
                  <a:schemeClr val="bg1"/>
                </a:solidFill>
              </a:rPr>
            </a:b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BB085B1-DB3E-0D40-9933-03D5A3CD7C54}"/>
              </a:ext>
            </a:extLst>
          </p:cNvPr>
          <p:cNvSpPr txBox="1"/>
          <p:nvPr/>
        </p:nvSpPr>
        <p:spPr>
          <a:xfrm>
            <a:off x="3180862" y="593969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D236941-227C-4148-93B6-5BFD556A12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628" y="1715782"/>
            <a:ext cx="2819879" cy="280820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7DD04A47-09E8-7048-9C89-5A604D27A9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1510" y="1715782"/>
            <a:ext cx="2988672" cy="28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354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Stateless</a:t>
            </a:r>
            <a:r>
              <a:rPr kumimoji="1" lang="zh-CN" altLang="en-US" dirty="0"/>
              <a:t> </a:t>
            </a:r>
            <a:r>
              <a:rPr kumimoji="1" lang="en-US" altLang="zh-CN" dirty="0"/>
              <a:t>&amp;</a:t>
            </a:r>
            <a:r>
              <a:rPr kumimoji="1" lang="zh-CN" altLang="en-US" dirty="0"/>
              <a:t> </a:t>
            </a:r>
            <a:r>
              <a:rPr kumimoji="1" lang="en-US" altLang="zh-CN" dirty="0"/>
              <a:t>Stateful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7244861" y="1137444"/>
            <a:ext cx="4736123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按照 </a:t>
            </a:r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Flutter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的构建机制，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Widge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（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组件）可以分为 状态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Widge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（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组件） 和 无状态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Widge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（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组件）。</a:t>
            </a:r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dirty="0">
                <a:solidFill>
                  <a:schemeClr val="bg1"/>
                </a:solidFill>
              </a:rPr>
              <a:t>无状态</a:t>
            </a:r>
            <a:r>
              <a:rPr lang="en" altLang="zh-CN" dirty="0">
                <a:solidFill>
                  <a:schemeClr val="bg1"/>
                </a:solidFill>
              </a:rPr>
              <a:t>Widget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zh-CN" altLang="en-US" dirty="0">
                <a:solidFill>
                  <a:schemeClr val="bg1"/>
                </a:solidFill>
              </a:rPr>
              <a:t>组件）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zh-CN" altLang="en-US" sz="1600" dirty="0">
                <a:solidFill>
                  <a:schemeClr val="bg1"/>
                </a:solidFill>
              </a:rPr>
              <a:t>使用类初始化的数据进行渲染，</a:t>
            </a:r>
            <a:r>
              <a:rPr lang="en" altLang="zh-CN" sz="1600" dirty="0">
                <a:solidFill>
                  <a:schemeClr val="bg1"/>
                </a:solidFill>
              </a:rPr>
              <a:t>Widget</a:t>
            </a:r>
            <a:r>
              <a:rPr lang="zh-CN" altLang="en" sz="1600" dirty="0">
                <a:solidFill>
                  <a:schemeClr val="bg1"/>
                </a:solidFill>
              </a:rPr>
              <a:t>（</a:t>
            </a:r>
            <a:r>
              <a:rPr lang="zh-CN" altLang="en-US" sz="1600" dirty="0">
                <a:solidFill>
                  <a:schemeClr val="bg1"/>
                </a:solidFill>
              </a:rPr>
              <a:t>组件）无需管理自己的状态，初始化是什么样，渲染就是什么样子。</a:t>
            </a:r>
            <a:endParaRPr lang="en-US" altLang="zh-CN" sz="1600" dirty="0">
              <a:solidFill>
                <a:schemeClr val="bg1"/>
              </a:solidFill>
            </a:endParaRPr>
          </a:p>
          <a:p>
            <a:endParaRPr lang="en-US" altLang="zh-CN" dirty="0">
              <a:solidFill>
                <a:schemeClr val="bg1"/>
              </a:solidFill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dirty="0">
                <a:solidFill>
                  <a:schemeClr val="bg1"/>
                </a:solidFill>
              </a:rPr>
              <a:t>状态</a:t>
            </a:r>
            <a:r>
              <a:rPr lang="en" altLang="zh-CN" dirty="0">
                <a:solidFill>
                  <a:schemeClr val="bg1"/>
                </a:solidFill>
              </a:rPr>
              <a:t>Widget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zh-CN" altLang="en-US" dirty="0">
                <a:solidFill>
                  <a:schemeClr val="bg1"/>
                </a:solidFill>
              </a:rPr>
              <a:t>组件）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zh-CN" altLang="en-US" sz="1600" dirty="0">
                <a:solidFill>
                  <a:schemeClr val="bg1"/>
                </a:solidFill>
              </a:rPr>
              <a:t>不仅使用类初始化的数据进行渲染，</a:t>
            </a:r>
            <a:r>
              <a:rPr lang="en" altLang="zh-CN" sz="1600" dirty="0">
                <a:solidFill>
                  <a:schemeClr val="bg1"/>
                </a:solidFill>
              </a:rPr>
              <a:t>Widget</a:t>
            </a:r>
            <a:r>
              <a:rPr lang="zh-CN" altLang="en" sz="1600" dirty="0">
                <a:solidFill>
                  <a:schemeClr val="bg1"/>
                </a:solidFill>
              </a:rPr>
              <a:t>（</a:t>
            </a:r>
            <a:r>
              <a:rPr lang="zh-CN" altLang="en-US" sz="1600" dirty="0">
                <a:solidFill>
                  <a:schemeClr val="bg1"/>
                </a:solidFill>
              </a:rPr>
              <a:t>组件）也可以声明自己的状态，当自己的状态发生变化时，可以调用方法重新渲染自身。状态</a:t>
            </a:r>
            <a:r>
              <a:rPr lang="en" altLang="zh-CN" sz="1600" dirty="0">
                <a:solidFill>
                  <a:schemeClr val="bg1"/>
                </a:solidFill>
              </a:rPr>
              <a:t>Widget</a:t>
            </a:r>
            <a:r>
              <a:rPr lang="zh-CN" altLang="en" sz="1600" dirty="0">
                <a:solidFill>
                  <a:schemeClr val="bg1"/>
                </a:solidFill>
              </a:rPr>
              <a:t>（</a:t>
            </a:r>
            <a:r>
              <a:rPr lang="zh-CN" altLang="en-US" sz="1600" dirty="0">
                <a:solidFill>
                  <a:schemeClr val="bg1"/>
                </a:solidFill>
              </a:rPr>
              <a:t>组件）拥有生命周期。</a:t>
            </a:r>
          </a:p>
          <a:p>
            <a:br>
              <a:rPr lang="zh-CN" altLang="en-US" dirty="0">
                <a:solidFill>
                  <a:schemeClr val="bg1"/>
                </a:solidFill>
              </a:rPr>
            </a:b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5013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Flutter</a:t>
            </a:r>
            <a:r>
              <a:rPr kumimoji="1" lang="zh-CN" altLang="en-US" dirty="0"/>
              <a:t> </a:t>
            </a:r>
            <a:r>
              <a:rPr kumimoji="1" lang="en-US" altLang="zh-CN" dirty="0"/>
              <a:t>Widge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224855" y="1137444"/>
            <a:ext cx="11756130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图</a:t>
            </a: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4708089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Flex</a:t>
            </a:r>
            <a:r>
              <a:rPr kumimoji="1" lang="zh-CN" altLang="en-US" dirty="0"/>
              <a:t> </a:t>
            </a:r>
            <a:r>
              <a:rPr kumimoji="1" lang="en-US" altLang="zh-CN" dirty="0"/>
              <a:t>Layou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6096000" y="1137444"/>
            <a:ext cx="5884985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altLang="zh-CN" sz="1600" dirty="0">
                <a:solidFill>
                  <a:schemeClr val="bg1"/>
                </a:solidFill>
              </a:rPr>
              <a:t>Flutter </a:t>
            </a:r>
            <a:r>
              <a:rPr lang="zh-CN" altLang="en-US" sz="1600" dirty="0">
                <a:solidFill>
                  <a:schemeClr val="bg1"/>
                </a:solidFill>
              </a:rPr>
              <a:t>中的弹性布局模型跟 </a:t>
            </a:r>
            <a:r>
              <a:rPr lang="en" altLang="zh-CN" sz="1600" dirty="0">
                <a:solidFill>
                  <a:schemeClr val="bg1"/>
                </a:solidFill>
              </a:rPr>
              <a:t>web </a:t>
            </a:r>
            <a:r>
              <a:rPr lang="zh-CN" altLang="en-US" sz="1600" dirty="0">
                <a:solidFill>
                  <a:schemeClr val="bg1"/>
                </a:solidFill>
              </a:rPr>
              <a:t>开发中的弹性布局非常类似。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zh-CN" altLang="en-US" sz="1600" dirty="0">
                <a:solidFill>
                  <a:schemeClr val="bg1"/>
                </a:solidFill>
              </a:rPr>
              <a:t>如果知道主轴方向，可以直接使用</a:t>
            </a:r>
            <a:r>
              <a:rPr lang="en-US" altLang="zh-CN" sz="1600" dirty="0">
                <a:solidFill>
                  <a:schemeClr val="bg1"/>
                </a:solidFill>
              </a:rPr>
              <a:t>Row</a:t>
            </a:r>
            <a:r>
              <a:rPr lang="zh-CN" altLang="en-US" sz="1600" dirty="0">
                <a:solidFill>
                  <a:schemeClr val="bg1"/>
                </a:solidFill>
              </a:rPr>
              <a:t>和 </a:t>
            </a:r>
            <a:r>
              <a:rPr lang="en-US" altLang="zh-CN" sz="1600" dirty="0">
                <a:solidFill>
                  <a:schemeClr val="bg1"/>
                </a:solidFill>
              </a:rPr>
              <a:t>Column</a:t>
            </a:r>
            <a:r>
              <a:rPr lang="zh-CN" altLang="en-US" sz="1600" dirty="0">
                <a:solidFill>
                  <a:schemeClr val="bg1"/>
                </a:solidFill>
              </a:rPr>
              <a:t>， 他们都继承自 </a:t>
            </a:r>
            <a:r>
              <a:rPr lang="en-US" altLang="zh-CN" sz="1600" dirty="0">
                <a:solidFill>
                  <a:schemeClr val="bg1"/>
                </a:solidFill>
              </a:rPr>
              <a:t>Flex</a:t>
            </a:r>
            <a:r>
              <a:rPr lang="zh-CN" altLang="en-US" sz="1600" dirty="0">
                <a:solidFill>
                  <a:schemeClr val="bg1"/>
                </a:solidFill>
              </a:rPr>
              <a:t>。以下是共通的属性：</a:t>
            </a:r>
            <a:endParaRPr lang="en-US" altLang="zh-CN" sz="1600" dirty="0">
              <a:solidFill>
                <a:schemeClr val="bg1"/>
              </a:solidFill>
            </a:endParaRPr>
          </a:p>
          <a:p>
            <a:endParaRPr lang="en-US" altLang="zh-CN" sz="1400" dirty="0">
              <a:solidFill>
                <a:schemeClr val="bg1"/>
              </a:solidFill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" altLang="zh-CN" dirty="0" err="1">
                <a:solidFill>
                  <a:schemeClr val="bg1"/>
                </a:solidFill>
              </a:rPr>
              <a:t>mainAxisSize</a:t>
            </a:r>
            <a:endParaRPr lang="en" altLang="zh-CN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表示主轴（水平）方向上占用的空间，默认是 </a:t>
            </a:r>
            <a:r>
              <a:rPr lang="en" altLang="zh-CN" sz="1400" dirty="0" err="1">
                <a:solidFill>
                  <a:schemeClr val="bg1"/>
                </a:solidFill>
              </a:rPr>
              <a:t>MainAxisSize.max</a:t>
            </a:r>
            <a:r>
              <a:rPr lang="zh-CN" altLang="en" sz="1400" dirty="0">
                <a:solidFill>
                  <a:schemeClr val="bg1"/>
                </a:solidFill>
              </a:rPr>
              <a:t>， </a:t>
            </a:r>
            <a:r>
              <a:rPr lang="zh-CN" altLang="en-US" sz="1400" dirty="0">
                <a:solidFill>
                  <a:schemeClr val="bg1"/>
                </a:solidFill>
              </a:rPr>
              <a:t>表示尽可能多的占用水平方向的空间。</a:t>
            </a:r>
            <a:r>
              <a:rPr lang="en" altLang="zh-CN" sz="1400" dirty="0" err="1">
                <a:solidFill>
                  <a:schemeClr val="bg1"/>
                </a:solidFill>
              </a:rPr>
              <a:t>MainAxisSize.min</a:t>
            </a:r>
            <a:r>
              <a:rPr lang="en" altLang="zh-CN" sz="1400" dirty="0">
                <a:solidFill>
                  <a:schemeClr val="bg1"/>
                </a:solidFill>
              </a:rPr>
              <a:t> </a:t>
            </a:r>
            <a:r>
              <a:rPr lang="zh-CN" altLang="en-US" sz="1400" dirty="0">
                <a:solidFill>
                  <a:schemeClr val="bg1"/>
                </a:solidFill>
              </a:rPr>
              <a:t>则 </a:t>
            </a:r>
            <a:r>
              <a:rPr lang="en" altLang="zh-CN" sz="1400" dirty="0">
                <a:solidFill>
                  <a:schemeClr val="bg1"/>
                </a:solidFill>
              </a:rPr>
              <a:t>Row </a:t>
            </a:r>
            <a:r>
              <a:rPr lang="zh-CN" altLang="en-US" sz="1400" dirty="0">
                <a:solidFill>
                  <a:schemeClr val="bg1"/>
                </a:solidFill>
              </a:rPr>
              <a:t>的实际宽度是所有子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占有的水平空间。</a:t>
            </a:r>
            <a:endParaRPr lang="en-US" altLang="zh-CN" sz="1400" dirty="0">
              <a:solidFill>
                <a:schemeClr val="bg1"/>
              </a:solidFill>
            </a:endParaRPr>
          </a:p>
          <a:p>
            <a:endParaRPr lang="zh-CN" altLang="en-US" sz="1400" dirty="0">
              <a:solidFill>
                <a:schemeClr val="bg1"/>
              </a:solidFill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" altLang="zh-CN" dirty="0" err="1">
                <a:solidFill>
                  <a:schemeClr val="bg1"/>
                </a:solidFill>
              </a:rPr>
              <a:t>mainAxisAlignment</a:t>
            </a:r>
            <a:endParaRPr lang="en" altLang="zh-CN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可以参照 </a:t>
            </a:r>
            <a:r>
              <a:rPr lang="en" altLang="zh-CN" sz="1400" dirty="0" err="1">
                <a:solidFill>
                  <a:schemeClr val="bg1"/>
                </a:solidFill>
              </a:rPr>
              <a:t>css</a:t>
            </a:r>
            <a:r>
              <a:rPr lang="en" altLang="zh-CN" sz="1400" dirty="0">
                <a:solidFill>
                  <a:schemeClr val="bg1"/>
                </a:solidFill>
              </a:rPr>
              <a:t> </a:t>
            </a:r>
            <a:r>
              <a:rPr lang="zh-CN" altLang="en-US" sz="1400" dirty="0">
                <a:solidFill>
                  <a:schemeClr val="bg1"/>
                </a:solidFill>
              </a:rPr>
              <a:t>的 </a:t>
            </a:r>
            <a:r>
              <a:rPr lang="en" altLang="zh-CN" sz="1400" dirty="0">
                <a:solidFill>
                  <a:schemeClr val="bg1"/>
                </a:solidFill>
              </a:rPr>
              <a:t>justify-content </a:t>
            </a:r>
            <a:r>
              <a:rPr lang="zh-CN" altLang="en-US" sz="1400" dirty="0">
                <a:solidFill>
                  <a:schemeClr val="bg1"/>
                </a:solidFill>
              </a:rPr>
              <a:t>属性，表示子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在水平空间内的对齐方式。</a:t>
            </a:r>
            <a:endParaRPr lang="en-US" altLang="zh-CN" sz="1400" dirty="0">
              <a:solidFill>
                <a:schemeClr val="bg1"/>
              </a:solidFill>
            </a:endParaRPr>
          </a:p>
          <a:p>
            <a:endParaRPr lang="zh-CN" altLang="en-US" sz="1400" dirty="0">
              <a:solidFill>
                <a:schemeClr val="bg1"/>
              </a:solidFill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" altLang="zh-CN" dirty="0" err="1">
                <a:solidFill>
                  <a:schemeClr val="bg1"/>
                </a:solidFill>
              </a:rPr>
              <a:t>crossAxisAlignment</a:t>
            </a:r>
            <a:endParaRPr lang="en" altLang="zh-CN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可以参照 </a:t>
            </a:r>
            <a:r>
              <a:rPr lang="en" altLang="zh-CN" sz="1400" dirty="0" err="1">
                <a:solidFill>
                  <a:schemeClr val="bg1"/>
                </a:solidFill>
              </a:rPr>
              <a:t>css</a:t>
            </a:r>
            <a:r>
              <a:rPr lang="en" altLang="zh-CN" sz="1400" dirty="0">
                <a:solidFill>
                  <a:schemeClr val="bg1"/>
                </a:solidFill>
              </a:rPr>
              <a:t> </a:t>
            </a:r>
            <a:r>
              <a:rPr lang="zh-CN" altLang="en-US" sz="1400" dirty="0">
                <a:solidFill>
                  <a:schemeClr val="bg1"/>
                </a:solidFill>
              </a:rPr>
              <a:t>的 </a:t>
            </a:r>
            <a:r>
              <a:rPr lang="en" altLang="zh-CN" sz="1400" dirty="0">
                <a:solidFill>
                  <a:schemeClr val="bg1"/>
                </a:solidFill>
              </a:rPr>
              <a:t>align-items</a:t>
            </a:r>
            <a:r>
              <a:rPr lang="zh-CN" altLang="en-US" sz="1400" dirty="0">
                <a:solidFill>
                  <a:schemeClr val="bg1"/>
                </a:solidFill>
              </a:rPr>
              <a:t>属性，表示子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在垂直空间内的对齐方式。交叉轴的高度取决于子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中最高的子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。</a:t>
            </a:r>
          </a:p>
          <a:p>
            <a:endParaRPr lang="en-US" altLang="zh-CN" sz="1400" dirty="0">
              <a:solidFill>
                <a:schemeClr val="bg1"/>
              </a:solidFill>
            </a:endParaRPr>
          </a:p>
          <a:p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EB6358C-19EE-E545-9062-A28A30FBBFBB}"/>
              </a:ext>
            </a:extLst>
          </p:cNvPr>
          <p:cNvSpPr txBox="1"/>
          <p:nvPr/>
        </p:nvSpPr>
        <p:spPr>
          <a:xfrm>
            <a:off x="4189046" y="36732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3DA90A2-436A-0A4C-8CDE-02F44AAC56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415" y="1719137"/>
            <a:ext cx="5103944" cy="40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1084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Scroll</a:t>
            </a:r>
            <a:r>
              <a:rPr kumimoji="1" lang="zh-CN" altLang="en-US" dirty="0"/>
              <a:t> </a:t>
            </a:r>
            <a:r>
              <a:rPr kumimoji="1" lang="en-US" altLang="zh-CN" dirty="0"/>
              <a:t>Layou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4814278" y="1137444"/>
            <a:ext cx="7166708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Flutter</a:t>
            </a:r>
            <a:r>
              <a:rPr lang="zh-CN" altLang="en-US" dirty="0">
                <a:solidFill>
                  <a:schemeClr val="bg1"/>
                </a:solidFill>
              </a:rPr>
              <a:t> 渲染</a:t>
            </a:r>
            <a:r>
              <a:rPr lang="en" altLang="zh-CN" dirty="0">
                <a:solidFill>
                  <a:schemeClr val="bg1"/>
                </a:solidFill>
              </a:rPr>
              <a:t>Widget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zh-CN" altLang="en-US" dirty="0">
                <a:solidFill>
                  <a:schemeClr val="bg1"/>
                </a:solidFill>
              </a:rPr>
              <a:t>组件）的方式与 </a:t>
            </a:r>
            <a:r>
              <a:rPr lang="en-US" altLang="zh-CN" dirty="0">
                <a:solidFill>
                  <a:schemeClr val="bg1"/>
                </a:solidFill>
              </a:rPr>
              <a:t>Web</a:t>
            </a:r>
            <a:r>
              <a:rPr lang="zh-CN" altLang="en-US" dirty="0">
                <a:solidFill>
                  <a:schemeClr val="bg1"/>
                </a:solidFill>
              </a:rPr>
              <a:t> 有一个明显的区别，就是当</a:t>
            </a:r>
            <a:r>
              <a:rPr lang="en" altLang="zh-CN" dirty="0">
                <a:solidFill>
                  <a:schemeClr val="bg1"/>
                </a:solidFill>
              </a:rPr>
              <a:t>Widget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zh-CN" altLang="en-US" dirty="0">
                <a:solidFill>
                  <a:schemeClr val="bg1"/>
                </a:solidFill>
              </a:rPr>
              <a:t>组件）内容超过当前显示视口</a:t>
            </a:r>
            <a:r>
              <a:rPr lang="en-US" altLang="zh-CN" dirty="0">
                <a:solidFill>
                  <a:schemeClr val="bg1"/>
                </a:solidFill>
              </a:rPr>
              <a:t>(</a:t>
            </a:r>
            <a:r>
              <a:rPr lang="en" altLang="zh-CN" dirty="0">
                <a:solidFill>
                  <a:schemeClr val="bg1"/>
                </a:solidFill>
              </a:rPr>
              <a:t>View</a:t>
            </a:r>
            <a:r>
              <a:rPr lang="en-US" altLang="zh-CN" dirty="0">
                <a:solidFill>
                  <a:schemeClr val="bg1"/>
                </a:solidFill>
              </a:rPr>
              <a:t>-</a:t>
            </a:r>
            <a:r>
              <a:rPr lang="en" altLang="zh-CN" dirty="0">
                <a:solidFill>
                  <a:schemeClr val="bg1"/>
                </a:solidFill>
              </a:rPr>
              <a:t>Port)</a:t>
            </a:r>
            <a:r>
              <a:rPr lang="zh-CN" altLang="en-US" dirty="0">
                <a:solidFill>
                  <a:schemeClr val="bg1"/>
                </a:solidFill>
              </a:rPr>
              <a:t>时，如果没有特殊处理，</a:t>
            </a:r>
            <a:r>
              <a:rPr lang="en" altLang="zh-CN" dirty="0">
                <a:solidFill>
                  <a:schemeClr val="bg1"/>
                </a:solidFill>
              </a:rPr>
              <a:t>Flutter</a:t>
            </a:r>
            <a:r>
              <a:rPr lang="zh-CN" altLang="en-US" dirty="0">
                <a:solidFill>
                  <a:schemeClr val="bg1"/>
                </a:solidFill>
              </a:rPr>
              <a:t>则会提示</a:t>
            </a:r>
            <a:r>
              <a:rPr lang="en" altLang="zh-CN" dirty="0">
                <a:solidFill>
                  <a:schemeClr val="bg1"/>
                </a:solidFill>
              </a:rPr>
              <a:t>Overflow</a:t>
            </a:r>
            <a:r>
              <a:rPr lang="zh-CN" altLang="en-US" dirty="0">
                <a:solidFill>
                  <a:schemeClr val="bg1"/>
                </a:solidFill>
              </a:rPr>
              <a:t>错误，并不会自动添加滚动条。而在</a:t>
            </a:r>
            <a:r>
              <a:rPr lang="en-US" altLang="zh-CN" dirty="0">
                <a:solidFill>
                  <a:schemeClr val="bg1"/>
                </a:solidFill>
              </a:rPr>
              <a:t>Web</a:t>
            </a:r>
            <a:r>
              <a:rPr lang="zh-CN" altLang="en-US" dirty="0">
                <a:solidFill>
                  <a:schemeClr val="bg1"/>
                </a:solidFill>
              </a:rPr>
              <a:t> 中会自动添加滚动条。为此，</a:t>
            </a:r>
            <a:r>
              <a:rPr lang="en" altLang="zh-CN" dirty="0">
                <a:solidFill>
                  <a:schemeClr val="bg1"/>
                </a:solidFill>
              </a:rPr>
              <a:t>Flutter</a:t>
            </a:r>
            <a:r>
              <a:rPr lang="zh-CN" altLang="en-US" dirty="0">
                <a:solidFill>
                  <a:schemeClr val="bg1"/>
                </a:solidFill>
              </a:rPr>
              <a:t>提供了多种可滚动</a:t>
            </a:r>
            <a:r>
              <a:rPr lang="en" altLang="zh-CN" dirty="0">
                <a:solidFill>
                  <a:schemeClr val="bg1"/>
                </a:solidFill>
              </a:rPr>
              <a:t>Widget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zh-CN" altLang="en-US" dirty="0">
                <a:solidFill>
                  <a:schemeClr val="bg1"/>
                </a:solidFill>
              </a:rPr>
              <a:t>组件）（</a:t>
            </a:r>
            <a:r>
              <a:rPr lang="en" altLang="zh-CN" dirty="0">
                <a:solidFill>
                  <a:schemeClr val="bg1"/>
                </a:solidFill>
              </a:rPr>
              <a:t>Scrollable Widget</a:t>
            </a:r>
            <a:r>
              <a:rPr lang="zh-CN" altLang="en" dirty="0">
                <a:solidFill>
                  <a:schemeClr val="bg1"/>
                </a:solidFill>
              </a:rPr>
              <a:t>）</a:t>
            </a:r>
            <a:r>
              <a:rPr lang="zh-CN" altLang="en-US" dirty="0">
                <a:solidFill>
                  <a:schemeClr val="bg1"/>
                </a:solidFill>
              </a:rPr>
              <a:t>用于显示列表和长布局。</a:t>
            </a:r>
            <a:endParaRPr lang="en-US" altLang="zh-CN" dirty="0">
              <a:solidFill>
                <a:schemeClr val="bg1"/>
              </a:solidFill>
            </a:endParaRPr>
          </a:p>
          <a:p>
            <a:endParaRPr lang="en-US" altLang="zh-CN" dirty="0">
              <a:solidFill>
                <a:schemeClr val="bg1"/>
              </a:solidFill>
            </a:endParaRPr>
          </a:p>
          <a:p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14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ingleChildScrollView</a:t>
            </a: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14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istView</a:t>
            </a:r>
            <a:r>
              <a:rPr lang="en-US" altLang="zh-CN" sz="14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(Sliver)</a:t>
            </a: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14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GridView</a:t>
            </a:r>
            <a:r>
              <a:rPr lang="en-US" altLang="zh-CN" sz="14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(Sliver)</a:t>
            </a: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14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CostumScrollView</a:t>
            </a:r>
            <a:r>
              <a:rPr lang="en-US" altLang="zh-CN" sz="14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(Sliver)</a:t>
            </a: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r>
              <a:rPr lang="zh-CN" altLang="en-US" dirty="0">
                <a:solidFill>
                  <a:schemeClr val="bg1"/>
                </a:solidFill>
              </a:rPr>
              <a:t>基于 </a:t>
            </a:r>
            <a:r>
              <a:rPr lang="en" altLang="zh-CN" dirty="0">
                <a:solidFill>
                  <a:schemeClr val="bg1"/>
                </a:solidFill>
              </a:rPr>
              <a:t>Sliver </a:t>
            </a:r>
            <a:r>
              <a:rPr lang="zh-CN" altLang="en-US" dirty="0">
                <a:solidFill>
                  <a:schemeClr val="bg1"/>
                </a:solidFill>
              </a:rPr>
              <a:t>的延迟构建模型</a:t>
            </a:r>
            <a:endParaRPr lang="en-US" altLang="zh-CN" dirty="0">
              <a:solidFill>
                <a:schemeClr val="bg1"/>
              </a:solidFill>
            </a:endParaRPr>
          </a:p>
          <a:p>
            <a:endParaRPr lang="en-US" altLang="zh-CN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如果一个可滚动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支持 </a:t>
            </a:r>
            <a:r>
              <a:rPr lang="en" altLang="zh-CN" sz="1400" dirty="0">
                <a:solidFill>
                  <a:schemeClr val="bg1"/>
                </a:solidFill>
              </a:rPr>
              <a:t>Sliver </a:t>
            </a:r>
            <a:r>
              <a:rPr lang="zh-CN" altLang="en-US" sz="1400" dirty="0">
                <a:solidFill>
                  <a:schemeClr val="bg1"/>
                </a:solidFill>
              </a:rPr>
              <a:t>模型，那么该滚动可以将子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分成好多个薄片（</a:t>
            </a:r>
            <a:r>
              <a:rPr lang="en" altLang="zh-CN" sz="1400" dirty="0">
                <a:solidFill>
                  <a:schemeClr val="bg1"/>
                </a:solidFill>
              </a:rPr>
              <a:t>Sliver</a:t>
            </a:r>
            <a:r>
              <a:rPr lang="zh-CN" altLang="en" sz="1400" dirty="0">
                <a:solidFill>
                  <a:schemeClr val="bg1"/>
                </a:solidFill>
              </a:rPr>
              <a:t>），</a:t>
            </a:r>
            <a:r>
              <a:rPr lang="zh-CN" altLang="en-US" sz="1400" dirty="0">
                <a:solidFill>
                  <a:schemeClr val="bg1"/>
                </a:solidFill>
              </a:rPr>
              <a:t>只有当 </a:t>
            </a:r>
            <a:r>
              <a:rPr lang="en" altLang="zh-CN" sz="1400" dirty="0">
                <a:solidFill>
                  <a:schemeClr val="bg1"/>
                </a:solidFill>
              </a:rPr>
              <a:t>Sliver </a:t>
            </a:r>
            <a:r>
              <a:rPr lang="zh-CN" altLang="en-US" sz="1400" dirty="0">
                <a:solidFill>
                  <a:schemeClr val="bg1"/>
                </a:solidFill>
              </a:rPr>
              <a:t>出现在视口中时才会去构建它</a:t>
            </a: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EB6358C-19EE-E545-9062-A28A30FBBFBB}"/>
              </a:ext>
            </a:extLst>
          </p:cNvPr>
          <p:cNvSpPr txBox="1"/>
          <p:nvPr/>
        </p:nvSpPr>
        <p:spPr>
          <a:xfrm>
            <a:off x="4189046" y="36732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8034CF9-A2FC-3B4A-B107-89DC378536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324" y="1377605"/>
            <a:ext cx="3647584" cy="4697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834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lo0AEdTluAbbaCa8H1Fg"/>
</p:tagLst>
</file>

<file path=ppt/theme/theme1.xml><?xml version="1.0" encoding="utf-8"?>
<a:theme xmlns:a="http://schemas.openxmlformats.org/drawingml/2006/main" name="2_16-3406 Accenture Security Template 16x9">
  <a:themeElements>
    <a:clrScheme name="Consulting Health">
      <a:dk1>
        <a:srgbClr val="000000"/>
      </a:dk1>
      <a:lt1>
        <a:srgbClr val="FFFFFF"/>
      </a:lt1>
      <a:dk2>
        <a:srgbClr val="969696"/>
      </a:dk2>
      <a:lt2>
        <a:srgbClr val="5A5A5A"/>
      </a:lt2>
      <a:accent1>
        <a:srgbClr val="460073"/>
      </a:accent1>
      <a:accent2>
        <a:srgbClr val="7500C0"/>
      </a:accent2>
      <a:accent3>
        <a:srgbClr val="A100FF"/>
      </a:accent3>
      <a:accent4>
        <a:srgbClr val="5A5A5A"/>
      </a:accent4>
      <a:accent5>
        <a:srgbClr val="969696"/>
      </a:accent5>
      <a:accent6>
        <a:srgbClr val="BEBEBE"/>
      </a:accent6>
      <a:hlink>
        <a:srgbClr val="A100FF"/>
      </a:hlink>
      <a:folHlink>
        <a:srgbClr val="BEBEBE"/>
      </a:folHlink>
    </a:clrScheme>
    <a:fontScheme name="Custom 100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17-1143 Accenture Technology Brand PPT (002) [Read-Only]" id="{3DF19122-EAFB-4EB2-A5CF-D0BBC7E1244B}" vid="{4B9FB44B-5063-4951-9157-8DCE94C9B8E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C319FCE6387F64AB7B3381E50573171" ma:contentTypeVersion="14" ma:contentTypeDescription="Create a new document." ma:contentTypeScope="" ma:versionID="1f43b093e6ba3fad59df3230f95fb4c9">
  <xsd:schema xmlns:xsd="http://www.w3.org/2001/XMLSchema" xmlns:xs="http://www.w3.org/2001/XMLSchema" xmlns:p="http://schemas.microsoft.com/office/2006/metadata/properties" xmlns:ns3="9e1bbf04-b180-48d2-bbbb-61f0a7c66d12" xmlns:ns4="25d6be39-4b2b-497f-8d2a-229cf38d528f" targetNamespace="http://schemas.microsoft.com/office/2006/metadata/properties" ma:root="true" ma:fieldsID="82a8667625e0a81fe74377eed9e42d7a" ns3:_="" ns4:_="">
    <xsd:import namespace="9e1bbf04-b180-48d2-bbbb-61f0a7c66d12"/>
    <xsd:import namespace="25d6be39-4b2b-497f-8d2a-229cf38d528f"/>
    <xsd:element name="properties">
      <xsd:complexType>
        <xsd:sequence>
          <xsd:element name="documentManagement">
            <xsd:complexType>
              <xsd:all>
                <xsd:element ref="ns3:SharedWithDetails" minOccurs="0"/>
                <xsd:element ref="ns3:SharedWithUsers" minOccurs="0"/>
                <xsd:element ref="ns3:SharingHintHash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1bbf04-b180-48d2-bbbb-61f0a7c66d12" elementFormDefault="qualified">
    <xsd:import namespace="http://schemas.microsoft.com/office/2006/documentManagement/types"/>
    <xsd:import namespace="http://schemas.microsoft.com/office/infopath/2007/PartnerControls"/>
    <xsd:element name="SharedWithDetails" ma:index="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d6be39-4b2b-497f-8d2a-229cf38d52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5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0C2BC9F-4768-45AA-8888-696B17A566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e1bbf04-b180-48d2-bbbb-61f0a7c66d12"/>
    <ds:schemaRef ds:uri="25d6be39-4b2b-497f-8d2a-229cf38d528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EEA3CCB-11BD-4692-BF66-763C3240C56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4AF9B24-1B56-4804-AC27-68F49A38513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_NEW_Template16x9_080217</Template>
  <TotalTime>3663</TotalTime>
  <Words>1155</Words>
  <Application>Microsoft Macintosh PowerPoint</Application>
  <PresentationFormat>宽屏</PresentationFormat>
  <Paragraphs>107</Paragraphs>
  <Slides>10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3" baseType="lpstr">
      <vt:lpstr>Microsoft YaHei</vt:lpstr>
      <vt:lpstr>Arial Bold</vt:lpstr>
      <vt:lpstr>Graphik</vt:lpstr>
      <vt:lpstr>Graphik Black</vt:lpstr>
      <vt:lpstr>Microsoft YaHei UI</vt:lpstr>
      <vt:lpstr>Montserrat Black</vt:lpstr>
      <vt:lpstr>Montserrat Medium</vt:lpstr>
      <vt:lpstr>Arial</vt:lpstr>
      <vt:lpstr>Arial Black</vt:lpstr>
      <vt:lpstr>Calibri Light</vt:lpstr>
      <vt:lpstr>Wingdings</vt:lpstr>
      <vt:lpstr>2_16-3406 Accenture Security Template 16x9</vt:lpstr>
      <vt:lpstr>think-cell Folie</vt:lpstr>
      <vt:lpstr>YOUR Future NOW</vt:lpstr>
      <vt:lpstr>Flutter Introduction</vt:lpstr>
      <vt:lpstr>Directory Structure</vt:lpstr>
      <vt:lpstr>Flutter Widget</vt:lpstr>
      <vt:lpstr>Props &amp; State</vt:lpstr>
      <vt:lpstr>Stateless &amp; Stateful</vt:lpstr>
      <vt:lpstr>Flutter Widget</vt:lpstr>
      <vt:lpstr>Flex Layout</vt:lpstr>
      <vt:lpstr>Scroll Layout</vt:lpstr>
      <vt:lpstr>Scroll Layou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 TO EDIT MASTER TITLE</dc:title>
  <dc:creator>creative.services.presentations@accenture.com</dc:creator>
  <cp:lastModifiedBy>王 志宇</cp:lastModifiedBy>
  <cp:revision>55</cp:revision>
  <dcterms:created xsi:type="dcterms:W3CDTF">2017-02-16T01:27:14Z</dcterms:created>
  <dcterms:modified xsi:type="dcterms:W3CDTF">2020-11-08T14:5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rName">
    <vt:lpwstr>lmcmanus</vt:lpwstr>
  </property>
  <property fmtid="{D5CDD505-2E9C-101B-9397-08002B2CF9AE}" pid="3" name="ComputerName">
    <vt:lpwstr>DLOADMIN</vt:lpwstr>
  </property>
  <property fmtid="{D5CDD505-2E9C-101B-9397-08002B2CF9AE}" pid="4" name="ContentTypeId">
    <vt:lpwstr>0x0101001C319FCE6387F64AB7B3381E50573171</vt:lpwstr>
  </property>
</Properties>
</file>